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933" r:id="rId7"/>
    <p:sldMasterId id="2147484014" r:id="rId8"/>
    <p:sldMasterId id="2147484073" r:id="rId9"/>
    <p:sldMasterId id="2147484145" r:id="rId10"/>
  </p:sldMasterIdLst>
  <p:notesMasterIdLst>
    <p:notesMasterId r:id="rId46"/>
  </p:notesMasterIdLst>
  <p:sldIdLst>
    <p:sldId id="257" r:id="rId11"/>
    <p:sldId id="259" r:id="rId12"/>
    <p:sldId id="2147482121" r:id="rId13"/>
    <p:sldId id="2147482394" r:id="rId14"/>
    <p:sldId id="2147482541" r:id="rId15"/>
    <p:sldId id="2147482122" r:id="rId16"/>
    <p:sldId id="2147482395" r:id="rId17"/>
    <p:sldId id="286" r:id="rId18"/>
    <p:sldId id="2147482128" r:id="rId19"/>
    <p:sldId id="2147483607" r:id="rId20"/>
    <p:sldId id="2147482397" r:id="rId21"/>
    <p:sldId id="277" r:id="rId22"/>
    <p:sldId id="261" r:id="rId23"/>
    <p:sldId id="281" r:id="rId24"/>
    <p:sldId id="327" r:id="rId25"/>
    <p:sldId id="337" r:id="rId26"/>
    <p:sldId id="2147483645" r:id="rId27"/>
    <p:sldId id="2147483646" r:id="rId28"/>
    <p:sldId id="276" r:id="rId29"/>
    <p:sldId id="2147483647" r:id="rId30"/>
    <p:sldId id="294" r:id="rId31"/>
    <p:sldId id="2147483612" r:id="rId32"/>
    <p:sldId id="2147482123" r:id="rId33"/>
    <p:sldId id="2147482391" r:id="rId34"/>
    <p:sldId id="2147482124" r:id="rId35"/>
    <p:sldId id="2147482127" r:id="rId36"/>
    <p:sldId id="2147482125" r:id="rId37"/>
    <p:sldId id="2147482392" r:id="rId38"/>
    <p:sldId id="2147482398" r:id="rId39"/>
    <p:sldId id="2147482126" r:id="rId40"/>
    <p:sldId id="2147482393" r:id="rId41"/>
    <p:sldId id="256" r:id="rId42"/>
    <p:sldId id="2147482396" r:id="rId43"/>
    <p:sldId id="258" r:id="rId44"/>
    <p:sldId id="26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2D5217-D9B5-4976-9610-35F29A9C9460}">
          <p14:sldIdLst>
            <p14:sldId id="257"/>
            <p14:sldId id="259"/>
          </p14:sldIdLst>
        </p14:section>
        <p14:section name="Welcome &amp; Introductions" id="{3F0608A5-DD10-4A9F-9237-4B02CF6CEADF}">
          <p14:sldIdLst>
            <p14:sldId id="2147482121"/>
            <p14:sldId id="2147482394"/>
            <p14:sldId id="2147482541"/>
          </p14:sldIdLst>
        </p14:section>
        <p14:section name="Setting the Stage" id="{2A6FFFB7-315B-4FDB-9050-F15DBC311E9A}">
          <p14:sldIdLst>
            <p14:sldId id="2147482122"/>
            <p14:sldId id="2147482395"/>
            <p14:sldId id="286"/>
            <p14:sldId id="2147482128"/>
            <p14:sldId id="2147483607"/>
            <p14:sldId id="2147482397"/>
            <p14:sldId id="277"/>
            <p14:sldId id="261"/>
            <p14:sldId id="281"/>
            <p14:sldId id="327"/>
            <p14:sldId id="337"/>
            <p14:sldId id="2147483645"/>
            <p14:sldId id="2147483646"/>
            <p14:sldId id="276"/>
            <p14:sldId id="2147483647"/>
            <p14:sldId id="294"/>
          </p14:sldIdLst>
        </p14:section>
        <p14:section name="Lunch" id="{48207B1D-7321-4C60-8B8F-780CDF783B71}">
          <p14:sldIdLst>
            <p14:sldId id="2147483612"/>
          </p14:sldIdLst>
        </p14:section>
        <p14:section name="Hands-On Lab" id="{C12964D6-461A-4D3A-A4B5-BB42285F5D8D}">
          <p14:sldIdLst>
            <p14:sldId id="2147482123"/>
            <p14:sldId id="2147482391"/>
          </p14:sldIdLst>
        </p14:section>
        <p14:section name="Break" id="{7972D8AB-984F-4E8F-9607-E9CB20594047}">
          <p14:sldIdLst>
            <p14:sldId id="2147482124"/>
            <p14:sldId id="2147482127"/>
          </p14:sldIdLst>
        </p14:section>
        <p14:section name="Show &amp; Tell" id="{259B7B94-0954-4B8A-80CD-F01252B01469}">
          <p14:sldIdLst>
            <p14:sldId id="2147482125"/>
            <p14:sldId id="2147482392"/>
            <p14:sldId id="2147482398"/>
          </p14:sldIdLst>
        </p14:section>
        <p14:section name="Close" id="{C6497EA7-CDF8-4AAB-8E61-E706BC0589B9}">
          <p14:sldIdLst>
            <p14:sldId id="2147482126"/>
            <p14:sldId id="2147482393"/>
            <p14:sldId id="256"/>
          </p14:sldIdLst>
        </p14:section>
        <p14:section name="Appendix" id="{A9F52781-4E0D-468C-894C-637E732A52E5}">
          <p14:sldIdLst>
            <p14:sldId id="2147482396"/>
            <p14:sldId id="258"/>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91F2C"/>
    <a:srgbClr val="10374E"/>
    <a:srgbClr val="89CCFD"/>
    <a:srgbClr val="0A0A0A"/>
    <a:srgbClr val="A1EDDB"/>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4FC1C6-A3A8-4E11-B657-77103C9FDF5D}" v="902" dt="2025-04-10T16:49:46.418"/>
    <p1510:client id="{DE7F4A67-B1CE-1449-96D0-9BF384619F5E}" v="507" dt="2025-04-10T16:18:16.5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3" d="100"/>
          <a:sy n="123" d="100"/>
        </p:scale>
        <p:origin x="96" y="31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Tooles" userId="831746c4-f1a4-4e78-99f9-c748f9babc85" providerId="ADAL" clId="{52990B72-C1A1-4B54-9FF5-CF7AE2180541}"/>
    <pc:docChg chg="undo custSel modSld">
      <pc:chgData name="James Tooles" userId="831746c4-f1a4-4e78-99f9-c748f9babc85" providerId="ADAL" clId="{52990B72-C1A1-4B54-9FF5-CF7AE2180541}" dt="2025-02-09T23:10:21.552" v="101" actId="207"/>
      <pc:docMkLst>
        <pc:docMk/>
      </pc:docMkLst>
      <pc:sldChg chg="modSp mod">
        <pc:chgData name="James Tooles" userId="831746c4-f1a4-4e78-99f9-c748f9babc85" providerId="ADAL" clId="{52990B72-C1A1-4B54-9FF5-CF7AE2180541}" dt="2025-02-09T23:10:05.732" v="99" actId="1035"/>
        <pc:sldMkLst>
          <pc:docMk/>
          <pc:sldMk cId="3543528068" sldId="2147482128"/>
        </pc:sldMkLst>
        <pc:spChg chg="mod">
          <ac:chgData name="James Tooles" userId="831746c4-f1a4-4e78-99f9-c748f9babc85" providerId="ADAL" clId="{52990B72-C1A1-4B54-9FF5-CF7AE2180541}" dt="2025-02-09T23:10:05.732" v="99" actId="1035"/>
          <ac:spMkLst>
            <pc:docMk/>
            <pc:sldMk cId="3543528068" sldId="2147482128"/>
            <ac:spMk id="29" creationId="{612774B2-39A6-23F1-FC39-936FAC4900D6}"/>
          </ac:spMkLst>
        </pc:spChg>
        <pc:spChg chg="mod">
          <ac:chgData name="James Tooles" userId="831746c4-f1a4-4e78-99f9-c748f9babc85" providerId="ADAL" clId="{52990B72-C1A1-4B54-9FF5-CF7AE2180541}" dt="2025-02-09T23:10:05.732" v="99" actId="1035"/>
          <ac:spMkLst>
            <pc:docMk/>
            <pc:sldMk cId="3543528068" sldId="2147482128"/>
            <ac:spMk id="30" creationId="{04A54B2A-1404-F0BF-3ECB-3591D7DE84E6}"/>
          </ac:spMkLst>
        </pc:spChg>
      </pc:sldChg>
      <pc:sldChg chg="modSp mod">
        <pc:chgData name="James Tooles" userId="831746c4-f1a4-4e78-99f9-c748f9babc85" providerId="ADAL" clId="{52990B72-C1A1-4B54-9FF5-CF7AE2180541}" dt="2025-02-09T23:10:21.552" v="101" actId="207"/>
        <pc:sldMkLst>
          <pc:docMk/>
          <pc:sldMk cId="3023406239" sldId="2147482397"/>
        </pc:sldMkLst>
        <pc:spChg chg="mod">
          <ac:chgData name="James Tooles" userId="831746c4-f1a4-4e78-99f9-c748f9babc85" providerId="ADAL" clId="{52990B72-C1A1-4B54-9FF5-CF7AE2180541}" dt="2025-02-09T23:10:17.876" v="100" actId="207"/>
          <ac:spMkLst>
            <pc:docMk/>
            <pc:sldMk cId="3023406239" sldId="2147482397"/>
            <ac:spMk id="28" creationId="{D169D1DC-F357-D887-14F6-B8403A97CA46}"/>
          </ac:spMkLst>
        </pc:spChg>
        <pc:spChg chg="mod">
          <ac:chgData name="James Tooles" userId="831746c4-f1a4-4e78-99f9-c748f9babc85" providerId="ADAL" clId="{52990B72-C1A1-4B54-9FF5-CF7AE2180541}" dt="2025-02-09T23:10:21.552" v="101" actId="207"/>
          <ac:spMkLst>
            <pc:docMk/>
            <pc:sldMk cId="3023406239" sldId="2147482397"/>
            <ac:spMk id="30" creationId="{FD702DB6-8D25-AAEB-FD10-E8AEEECEA7E6}"/>
          </ac:spMkLst>
        </pc:spChg>
      </pc:sldChg>
    </pc:docChg>
  </pc:docChgLst>
  <pc:docChgLst>
    <pc:chgData name="James Tooles" userId="831746c4-f1a4-4e78-99f9-c748f9babc85" providerId="ADAL" clId="{05B7A32B-8BDC-4741-A5DF-1DD927B5ABB6}"/>
    <pc:docChg chg="undo custSel addSld delSld modSld sldOrd addSection modSection">
      <pc:chgData name="James Tooles" userId="831746c4-f1a4-4e78-99f9-c748f9babc85" providerId="ADAL" clId="{05B7A32B-8BDC-4741-A5DF-1DD927B5ABB6}" dt="2025-02-09T17:51:27.612" v="1190" actId="12788"/>
      <pc:docMkLst>
        <pc:docMk/>
      </pc:docMkLst>
      <pc:sldChg chg="modSp mod">
        <pc:chgData name="James Tooles" userId="831746c4-f1a4-4e78-99f9-c748f9babc85" providerId="ADAL" clId="{05B7A32B-8BDC-4741-A5DF-1DD927B5ABB6}" dt="2025-02-09T17:39:32.091" v="499" actId="20577"/>
        <pc:sldMkLst>
          <pc:docMk/>
          <pc:sldMk cId="2903900992" sldId="257"/>
        </pc:sldMkLst>
        <pc:spChg chg="mod">
          <ac:chgData name="James Tooles" userId="831746c4-f1a4-4e78-99f9-c748f9babc85" providerId="ADAL" clId="{05B7A32B-8BDC-4741-A5DF-1DD927B5ABB6}" dt="2025-02-09T17:39:32.091" v="499" actId="20577"/>
          <ac:spMkLst>
            <pc:docMk/>
            <pc:sldMk cId="2903900992" sldId="257"/>
            <ac:spMk id="3" creationId="{762C0C59-2648-5376-88C0-273337933B64}"/>
          </ac:spMkLst>
        </pc:spChg>
      </pc:sldChg>
      <pc:sldChg chg="modSp mod">
        <pc:chgData name="James Tooles" userId="831746c4-f1a4-4e78-99f9-c748f9babc85" providerId="ADAL" clId="{05B7A32B-8BDC-4741-A5DF-1DD927B5ABB6}" dt="2025-02-09T17:45:31.717" v="896" actId="2711"/>
        <pc:sldMkLst>
          <pc:docMk/>
          <pc:sldMk cId="1950432914" sldId="259"/>
        </pc:sldMkLst>
        <pc:graphicFrameChg chg="modGraphic">
          <ac:chgData name="James Tooles" userId="831746c4-f1a4-4e78-99f9-c748f9babc85" providerId="ADAL" clId="{05B7A32B-8BDC-4741-A5DF-1DD927B5ABB6}" dt="2025-02-09T17:45:31.717" v="896" actId="2711"/>
          <ac:graphicFrameMkLst>
            <pc:docMk/>
            <pc:sldMk cId="1950432914" sldId="259"/>
            <ac:graphicFrameMk id="5" creationId="{C569137C-E72A-B556-A95B-110536DF8926}"/>
          </ac:graphicFrameMkLst>
        </pc:graphicFrameChg>
      </pc:sldChg>
      <pc:sldChg chg="modSp mod">
        <pc:chgData name="James Tooles" userId="831746c4-f1a4-4e78-99f9-c748f9babc85" providerId="ADAL" clId="{05B7A32B-8BDC-4741-A5DF-1DD927B5ABB6}" dt="2025-02-09T17:39:20.506" v="489" actId="20577"/>
        <pc:sldMkLst>
          <pc:docMk/>
          <pc:sldMk cId="2669003191" sldId="286"/>
        </pc:sldMkLst>
        <pc:spChg chg="mod">
          <ac:chgData name="James Tooles" userId="831746c4-f1a4-4e78-99f9-c748f9babc85" providerId="ADAL" clId="{05B7A32B-8BDC-4741-A5DF-1DD927B5ABB6}" dt="2025-02-09T17:39:20.506" v="489" actId="20577"/>
          <ac:spMkLst>
            <pc:docMk/>
            <pc:sldMk cId="2669003191" sldId="286"/>
            <ac:spMk id="3" creationId="{A1215DBE-C581-DF12-8B02-1BB4FA99B94C}"/>
          </ac:spMkLst>
        </pc:spChg>
      </pc:sldChg>
      <pc:sldChg chg="del">
        <pc:chgData name="James Tooles" userId="831746c4-f1a4-4e78-99f9-c748f9babc85" providerId="ADAL" clId="{05B7A32B-8BDC-4741-A5DF-1DD927B5ABB6}" dt="2025-02-09T17:32:50.758" v="153" actId="47"/>
        <pc:sldMkLst>
          <pc:docMk/>
          <pc:sldMk cId="2293884543" sldId="2147481919"/>
        </pc:sldMkLst>
      </pc:sldChg>
      <pc:sldChg chg="del">
        <pc:chgData name="James Tooles" userId="831746c4-f1a4-4e78-99f9-c748f9babc85" providerId="ADAL" clId="{05B7A32B-8BDC-4741-A5DF-1DD927B5ABB6}" dt="2025-02-09T17:32:50.758" v="153" actId="47"/>
        <pc:sldMkLst>
          <pc:docMk/>
          <pc:sldMk cId="3397029229" sldId="2147481921"/>
        </pc:sldMkLst>
      </pc:sldChg>
      <pc:sldChg chg="del">
        <pc:chgData name="James Tooles" userId="831746c4-f1a4-4e78-99f9-c748f9babc85" providerId="ADAL" clId="{05B7A32B-8BDC-4741-A5DF-1DD927B5ABB6}" dt="2025-02-09T17:32:50.758" v="153" actId="47"/>
        <pc:sldMkLst>
          <pc:docMk/>
          <pc:sldMk cId="449502924" sldId="2147481925"/>
        </pc:sldMkLst>
      </pc:sldChg>
      <pc:sldChg chg="del">
        <pc:chgData name="James Tooles" userId="831746c4-f1a4-4e78-99f9-c748f9babc85" providerId="ADAL" clId="{05B7A32B-8BDC-4741-A5DF-1DD927B5ABB6}" dt="2025-02-09T17:32:50.758" v="153" actId="47"/>
        <pc:sldMkLst>
          <pc:docMk/>
          <pc:sldMk cId="2331709960" sldId="2147481926"/>
        </pc:sldMkLst>
      </pc:sldChg>
      <pc:sldChg chg="modSp mod">
        <pc:chgData name="James Tooles" userId="831746c4-f1a4-4e78-99f9-c748f9babc85" providerId="ADAL" clId="{05B7A32B-8BDC-4741-A5DF-1DD927B5ABB6}" dt="2025-02-09T17:43:36.567" v="795" actId="20577"/>
        <pc:sldMkLst>
          <pc:docMk/>
          <pc:sldMk cId="3114190621" sldId="2147482127"/>
        </pc:sldMkLst>
        <pc:graphicFrameChg chg="mod modGraphic">
          <ac:chgData name="James Tooles" userId="831746c4-f1a4-4e78-99f9-c748f9babc85" providerId="ADAL" clId="{05B7A32B-8BDC-4741-A5DF-1DD927B5ABB6}" dt="2025-02-09T17:43:36.567" v="795" actId="20577"/>
          <ac:graphicFrameMkLst>
            <pc:docMk/>
            <pc:sldMk cId="3114190621" sldId="2147482127"/>
            <ac:graphicFrameMk id="5" creationId="{ACA3C1F8-524B-283B-08B2-1F709335FFF8}"/>
          </ac:graphicFrameMkLst>
        </pc:graphicFrameChg>
      </pc:sldChg>
      <pc:sldChg chg="del">
        <pc:chgData name="James Tooles" userId="831746c4-f1a4-4e78-99f9-c748f9babc85" providerId="ADAL" clId="{05B7A32B-8BDC-4741-A5DF-1DD927B5ABB6}" dt="2025-02-09T17:32:50.758" v="153" actId="47"/>
        <pc:sldMkLst>
          <pc:docMk/>
          <pc:sldMk cId="2434812250" sldId="2147482133"/>
        </pc:sldMkLst>
      </pc:sldChg>
      <pc:sldChg chg="del">
        <pc:chgData name="James Tooles" userId="831746c4-f1a4-4e78-99f9-c748f9babc85" providerId="ADAL" clId="{05B7A32B-8BDC-4741-A5DF-1DD927B5ABB6}" dt="2025-02-09T17:32:50.758" v="153" actId="47"/>
        <pc:sldMkLst>
          <pc:docMk/>
          <pc:sldMk cId="7042480" sldId="2147482389"/>
        </pc:sldMkLst>
      </pc:sldChg>
      <pc:sldChg chg="del">
        <pc:chgData name="James Tooles" userId="831746c4-f1a4-4e78-99f9-c748f9babc85" providerId="ADAL" clId="{05B7A32B-8BDC-4741-A5DF-1DD927B5ABB6}" dt="2025-02-09T17:32:50.758" v="153" actId="47"/>
        <pc:sldMkLst>
          <pc:docMk/>
          <pc:sldMk cId="3160416778" sldId="2147482390"/>
        </pc:sldMkLst>
      </pc:sldChg>
      <pc:sldChg chg="addSp delSp modSp mod">
        <pc:chgData name="James Tooles" userId="831746c4-f1a4-4e78-99f9-c748f9babc85" providerId="ADAL" clId="{05B7A32B-8BDC-4741-A5DF-1DD927B5ABB6}" dt="2025-02-09T17:46:26.443" v="900" actId="2711"/>
        <pc:sldMkLst>
          <pc:docMk/>
          <pc:sldMk cId="1372010162" sldId="2147482391"/>
        </pc:sldMkLst>
        <pc:spChg chg="add mod">
          <ac:chgData name="James Tooles" userId="831746c4-f1a4-4e78-99f9-c748f9babc85" providerId="ADAL" clId="{05B7A32B-8BDC-4741-A5DF-1DD927B5ABB6}" dt="2025-02-09T17:35:30.391" v="248" actId="208"/>
          <ac:spMkLst>
            <pc:docMk/>
            <pc:sldMk cId="1372010162" sldId="2147482391"/>
            <ac:spMk id="7" creationId="{078E5214-8FE3-B973-8C12-E4A7BCE49629}"/>
          </ac:spMkLst>
        </pc:spChg>
        <pc:graphicFrameChg chg="add del mod modGraphic">
          <ac:chgData name="James Tooles" userId="831746c4-f1a4-4e78-99f9-c748f9babc85" providerId="ADAL" clId="{05B7A32B-8BDC-4741-A5DF-1DD927B5ABB6}" dt="2025-02-09T17:46:26.443" v="900" actId="2711"/>
          <ac:graphicFrameMkLst>
            <pc:docMk/>
            <pc:sldMk cId="1372010162" sldId="2147482391"/>
            <ac:graphicFrameMk id="5" creationId="{674A50B1-C8C1-5422-E4EE-82B4CEE29D9D}"/>
          </ac:graphicFrameMkLst>
        </pc:graphicFrameChg>
      </pc:sldChg>
      <pc:sldChg chg="modSp mod">
        <pc:chgData name="James Tooles" userId="831746c4-f1a4-4e78-99f9-c748f9babc85" providerId="ADAL" clId="{05B7A32B-8BDC-4741-A5DF-1DD927B5ABB6}" dt="2025-02-09T17:45:05.077" v="894" actId="2711"/>
        <pc:sldMkLst>
          <pc:docMk/>
          <pc:sldMk cId="3067808612" sldId="2147482392"/>
        </pc:sldMkLst>
        <pc:graphicFrameChg chg="mod modGraphic">
          <ac:chgData name="James Tooles" userId="831746c4-f1a4-4e78-99f9-c748f9babc85" providerId="ADAL" clId="{05B7A32B-8BDC-4741-A5DF-1DD927B5ABB6}" dt="2025-02-09T17:45:05.077" v="894" actId="2711"/>
          <ac:graphicFrameMkLst>
            <pc:docMk/>
            <pc:sldMk cId="3067808612" sldId="2147482392"/>
            <ac:graphicFrameMk id="5" creationId="{55120DED-9CB4-82C5-CF2A-C0F0F5CE44E7}"/>
          </ac:graphicFrameMkLst>
        </pc:graphicFrameChg>
      </pc:sldChg>
      <pc:sldChg chg="modSp mod">
        <pc:chgData name="James Tooles" userId="831746c4-f1a4-4e78-99f9-c748f9babc85" providerId="ADAL" clId="{05B7A32B-8BDC-4741-A5DF-1DD927B5ABB6}" dt="2025-02-09T17:47:25.015" v="989" actId="20577"/>
        <pc:sldMkLst>
          <pc:docMk/>
          <pc:sldMk cId="2244852589" sldId="2147482393"/>
        </pc:sldMkLst>
        <pc:graphicFrameChg chg="mod modGraphic">
          <ac:chgData name="James Tooles" userId="831746c4-f1a4-4e78-99f9-c748f9babc85" providerId="ADAL" clId="{05B7A32B-8BDC-4741-A5DF-1DD927B5ABB6}" dt="2025-02-09T17:47:25.015" v="989" actId="20577"/>
          <ac:graphicFrameMkLst>
            <pc:docMk/>
            <pc:sldMk cId="2244852589" sldId="2147482393"/>
            <ac:graphicFrameMk id="5" creationId="{2D4EDE2B-38E5-D87B-2869-DC2D32C1D44B}"/>
          </ac:graphicFrameMkLst>
        </pc:graphicFrameChg>
      </pc:sldChg>
      <pc:sldChg chg="delSp modSp mod ord">
        <pc:chgData name="James Tooles" userId="831746c4-f1a4-4e78-99f9-c748f9babc85" providerId="ADAL" clId="{05B7A32B-8BDC-4741-A5DF-1DD927B5ABB6}" dt="2025-02-09T17:48:13.210" v="995"/>
        <pc:sldMkLst>
          <pc:docMk/>
          <pc:sldMk cId="2163517895" sldId="2147482394"/>
        </pc:sldMkLst>
        <pc:graphicFrameChg chg="mod modGraphic">
          <ac:chgData name="James Tooles" userId="831746c4-f1a4-4e78-99f9-c748f9babc85" providerId="ADAL" clId="{05B7A32B-8BDC-4741-A5DF-1DD927B5ABB6}" dt="2025-02-09T17:45:38.474" v="897" actId="2711"/>
          <ac:graphicFrameMkLst>
            <pc:docMk/>
            <pc:sldMk cId="2163517895" sldId="2147482394"/>
            <ac:graphicFrameMk id="5" creationId="{BF668563-A874-B1B2-06C2-688838625C32}"/>
          </ac:graphicFrameMkLst>
        </pc:graphicFrameChg>
      </pc:sldChg>
      <pc:sldChg chg="modSp mod">
        <pc:chgData name="James Tooles" userId="831746c4-f1a4-4e78-99f9-c748f9babc85" providerId="ADAL" clId="{05B7A32B-8BDC-4741-A5DF-1DD927B5ABB6}" dt="2025-02-09T17:48:27.756" v="996" actId="2165"/>
        <pc:sldMkLst>
          <pc:docMk/>
          <pc:sldMk cId="2568363998" sldId="2147482395"/>
        </pc:sldMkLst>
        <pc:graphicFrameChg chg="mod modGraphic">
          <ac:chgData name="James Tooles" userId="831746c4-f1a4-4e78-99f9-c748f9babc85" providerId="ADAL" clId="{05B7A32B-8BDC-4741-A5DF-1DD927B5ABB6}" dt="2025-02-09T17:48:27.756" v="996" actId="2165"/>
          <ac:graphicFrameMkLst>
            <pc:docMk/>
            <pc:sldMk cId="2568363998" sldId="2147482395"/>
            <ac:graphicFrameMk id="5" creationId="{30453D34-C4E4-54D2-7889-D529633BFBA5}"/>
          </ac:graphicFrameMkLst>
        </pc:graphicFrameChg>
      </pc:sldChg>
      <pc:sldChg chg="modSp mod">
        <pc:chgData name="James Tooles" userId="831746c4-f1a4-4e78-99f9-c748f9babc85" providerId="ADAL" clId="{05B7A32B-8BDC-4741-A5DF-1DD927B5ABB6}" dt="2025-02-09T17:49:40.120" v="1011" actId="166"/>
        <pc:sldMkLst>
          <pc:docMk/>
          <pc:sldMk cId="1345270399" sldId="2147482396"/>
        </pc:sldMkLst>
      </pc:sldChg>
      <pc:sldChg chg="addSp modSp mod">
        <pc:chgData name="James Tooles" userId="831746c4-f1a4-4e78-99f9-c748f9babc85" providerId="ADAL" clId="{05B7A32B-8BDC-4741-A5DF-1DD927B5ABB6}" dt="2025-02-09T17:51:27.612" v="1190" actId="12788"/>
        <pc:sldMkLst>
          <pc:docMk/>
          <pc:sldMk cId="3348405244" sldId="2147482541"/>
        </pc:sldMkLst>
        <pc:spChg chg="add mod">
          <ac:chgData name="James Tooles" userId="831746c4-f1a4-4e78-99f9-c748f9babc85" providerId="ADAL" clId="{05B7A32B-8BDC-4741-A5DF-1DD927B5ABB6}" dt="2025-02-09T17:51:27.612" v="1190" actId="12788"/>
          <ac:spMkLst>
            <pc:docMk/>
            <pc:sldMk cId="3348405244" sldId="2147482541"/>
            <ac:spMk id="2" creationId="{131F9BE6-DE79-FC86-2F9F-6EEC0E72133E}"/>
          </ac:spMkLst>
        </pc:spChg>
        <pc:spChg chg="mod">
          <ac:chgData name="James Tooles" userId="831746c4-f1a4-4e78-99f9-c748f9babc85" providerId="ADAL" clId="{05B7A32B-8BDC-4741-A5DF-1DD927B5ABB6}" dt="2025-02-09T17:37:16.232" v="258" actId="20577"/>
          <ac:spMkLst>
            <pc:docMk/>
            <pc:sldMk cId="3348405244" sldId="2147482541"/>
            <ac:spMk id="16" creationId="{BDFC9DF0-4042-20D9-8E34-07DA5852482F}"/>
          </ac:spMkLst>
        </pc:spChg>
      </pc:sldChg>
      <pc:sldChg chg="addSp modSp mod">
        <pc:chgData name="James Tooles" userId="831746c4-f1a4-4e78-99f9-c748f9babc85" providerId="ADAL" clId="{05B7A32B-8BDC-4741-A5DF-1DD927B5ABB6}" dt="2025-02-09T17:31:27.864" v="149" actId="113"/>
        <pc:sldMkLst>
          <pc:docMk/>
          <pc:sldMk cId="4127103404" sldId="2147482542"/>
        </pc:sldMkLst>
        <pc:spChg chg="add mod">
          <ac:chgData name="James Tooles" userId="831746c4-f1a4-4e78-99f9-c748f9babc85" providerId="ADAL" clId="{05B7A32B-8BDC-4741-A5DF-1DD927B5ABB6}" dt="2025-02-09T17:31:07.605" v="129" actId="207"/>
          <ac:spMkLst>
            <pc:docMk/>
            <pc:sldMk cId="4127103404" sldId="2147482542"/>
            <ac:spMk id="2" creationId="{1A95F8CD-17A5-F325-37ED-F1CA1EEE4440}"/>
          </ac:spMkLst>
        </pc:spChg>
        <pc:spChg chg="add mod">
          <ac:chgData name="James Tooles" userId="831746c4-f1a4-4e78-99f9-c748f9babc85" providerId="ADAL" clId="{05B7A32B-8BDC-4741-A5DF-1DD927B5ABB6}" dt="2025-02-09T17:31:27.864" v="149" actId="113"/>
          <ac:spMkLst>
            <pc:docMk/>
            <pc:sldMk cId="4127103404" sldId="2147482542"/>
            <ac:spMk id="9" creationId="{B0792750-83FF-1D04-32D6-15F9339567EE}"/>
          </ac:spMkLst>
        </pc:spChg>
      </pc:sldChg>
      <pc:sldChg chg="addSp modSp mod">
        <pc:chgData name="James Tooles" userId="831746c4-f1a4-4e78-99f9-c748f9babc85" providerId="ADAL" clId="{05B7A32B-8BDC-4741-A5DF-1DD927B5ABB6}" dt="2025-02-09T17:36:31.495" v="256" actId="1076"/>
        <pc:sldMkLst>
          <pc:docMk/>
          <pc:sldMk cId="3837788878" sldId="2147483609"/>
        </pc:sldMkLst>
        <pc:spChg chg="add mod">
          <ac:chgData name="James Tooles" userId="831746c4-f1a4-4e78-99f9-c748f9babc85" providerId="ADAL" clId="{05B7A32B-8BDC-4741-A5DF-1DD927B5ABB6}" dt="2025-02-09T17:36:31.495" v="256" actId="1076"/>
          <ac:spMkLst>
            <pc:docMk/>
            <pc:sldMk cId="3837788878" sldId="2147483609"/>
            <ac:spMk id="9" creationId="{A0BDA343-9AEA-DB72-4561-D5390E8AAAE0}"/>
          </ac:spMkLst>
        </pc:spChg>
        <pc:spChg chg="add mod">
          <ac:chgData name="James Tooles" userId="831746c4-f1a4-4e78-99f9-c748f9babc85" providerId="ADAL" clId="{05B7A32B-8BDC-4741-A5DF-1DD927B5ABB6}" dt="2025-02-09T17:36:31.495" v="256" actId="1076"/>
          <ac:spMkLst>
            <pc:docMk/>
            <pc:sldMk cId="3837788878" sldId="2147483609"/>
            <ac:spMk id="13" creationId="{39D3F7B6-FAA4-25F9-1B62-718D51B22D78}"/>
          </ac:spMkLst>
        </pc:spChg>
      </pc:sldChg>
      <pc:sldChg chg="addSp delSp modSp new mod setBg">
        <pc:chgData name="James Tooles" userId="831746c4-f1a4-4e78-99f9-c748f9babc85" providerId="ADAL" clId="{05B7A32B-8BDC-4741-A5DF-1DD927B5ABB6}" dt="2025-02-09T17:34:47.061" v="240" actId="12788"/>
        <pc:sldMkLst>
          <pc:docMk/>
          <pc:sldMk cId="320453544" sldId="2147483611"/>
        </pc:sldMkLst>
      </pc:sldChg>
      <pc:sldChg chg="addSp delSp modSp new mod setBg">
        <pc:chgData name="James Tooles" userId="831746c4-f1a4-4e78-99f9-c748f9babc85" providerId="ADAL" clId="{05B7A32B-8BDC-4741-A5DF-1DD927B5ABB6}" dt="2025-02-09T17:46:14.293" v="899" actId="2711"/>
        <pc:sldMkLst>
          <pc:docMk/>
          <pc:sldMk cId="2161173661" sldId="2147483612"/>
        </pc:sldMkLst>
        <pc:graphicFrameChg chg="add mod modGraphic">
          <ac:chgData name="James Tooles" userId="831746c4-f1a4-4e78-99f9-c748f9babc85" providerId="ADAL" clId="{05B7A32B-8BDC-4741-A5DF-1DD927B5ABB6}" dt="2025-02-09T17:46:14.293" v="899" actId="2711"/>
          <ac:graphicFrameMkLst>
            <pc:docMk/>
            <pc:sldMk cId="2161173661" sldId="2147483612"/>
            <ac:graphicFrameMk id="4" creationId="{E4FA47B0-9DBA-D4F8-04D9-1645ED03BB1A}"/>
          </ac:graphicFrameMkLst>
        </pc:graphicFrameChg>
      </pc:sldChg>
    </pc:docChg>
  </pc:docChgLst>
  <pc:docChgLst>
    <pc:chgData name="Prashant Atri" userId="94132b96-520a-4863-bf47-f6ca2cecc14b" providerId="ADAL" clId="{DE7F4A67-B1CE-1449-96D0-9BF384619F5E}"/>
    <pc:docChg chg="undo custSel addSld delSld modSld sldOrd modSection">
      <pc:chgData name="Prashant Atri" userId="94132b96-520a-4863-bf47-f6ca2cecc14b" providerId="ADAL" clId="{DE7F4A67-B1CE-1449-96D0-9BF384619F5E}" dt="2025-04-10T16:18:16.527" v="508" actId="20577"/>
      <pc:docMkLst>
        <pc:docMk/>
      </pc:docMkLst>
      <pc:sldChg chg="add del setBg">
        <pc:chgData name="Prashant Atri" userId="94132b96-520a-4863-bf47-f6ca2cecc14b" providerId="ADAL" clId="{DE7F4A67-B1CE-1449-96D0-9BF384619F5E}" dt="2025-04-09T23:40:10.318" v="31"/>
        <pc:sldMkLst>
          <pc:docMk/>
          <pc:sldMk cId="390241037" sldId="261"/>
        </pc:sldMkLst>
      </pc:sldChg>
      <pc:sldChg chg="addSp delSp modSp add mod">
        <pc:chgData name="Prashant Atri" userId="94132b96-520a-4863-bf47-f6ca2cecc14b" providerId="ADAL" clId="{DE7F4A67-B1CE-1449-96D0-9BF384619F5E}" dt="2025-04-09T23:41:49.562" v="86" actId="1036"/>
        <pc:sldMkLst>
          <pc:docMk/>
          <pc:sldMk cId="2377130703" sldId="261"/>
        </pc:sldMkLst>
        <pc:spChg chg="add mod">
          <ac:chgData name="Prashant Atri" userId="94132b96-520a-4863-bf47-f6ca2cecc14b" providerId="ADAL" clId="{DE7F4A67-B1CE-1449-96D0-9BF384619F5E}" dt="2025-04-09T23:41:49.562" v="86" actId="1036"/>
          <ac:spMkLst>
            <pc:docMk/>
            <pc:sldMk cId="2377130703" sldId="261"/>
            <ac:spMk id="2" creationId="{E2FAB311-B218-5391-3437-E1D7498BC76B}"/>
          </ac:spMkLst>
        </pc:spChg>
        <pc:spChg chg="add mod">
          <ac:chgData name="Prashant Atri" userId="94132b96-520a-4863-bf47-f6ca2cecc14b" providerId="ADAL" clId="{DE7F4A67-B1CE-1449-96D0-9BF384619F5E}" dt="2025-04-09T23:41:49.562" v="86" actId="1036"/>
          <ac:spMkLst>
            <pc:docMk/>
            <pc:sldMk cId="2377130703" sldId="261"/>
            <ac:spMk id="3" creationId="{0990D097-D0F0-96FD-5AB3-3546FD0AB3E3}"/>
          </ac:spMkLst>
        </pc:spChg>
        <pc:spChg chg="add del mod">
          <ac:chgData name="Prashant Atri" userId="94132b96-520a-4863-bf47-f6ca2cecc14b" providerId="ADAL" clId="{DE7F4A67-B1CE-1449-96D0-9BF384619F5E}" dt="2025-04-09T23:40:32.127" v="37" actId="478"/>
          <ac:spMkLst>
            <pc:docMk/>
            <pc:sldMk cId="2377130703" sldId="261"/>
            <ac:spMk id="5" creationId="{D3346D1E-D330-FA14-5007-79FDD86B0552}"/>
          </ac:spMkLst>
        </pc:spChg>
        <pc:spChg chg="add mod">
          <ac:chgData name="Prashant Atri" userId="94132b96-520a-4863-bf47-f6ca2cecc14b" providerId="ADAL" clId="{DE7F4A67-B1CE-1449-96D0-9BF384619F5E}" dt="2025-04-09T23:41:39.786" v="61" actId="1037"/>
          <ac:spMkLst>
            <pc:docMk/>
            <pc:sldMk cId="2377130703" sldId="261"/>
            <ac:spMk id="7" creationId="{453F29B4-AFC3-F3A4-764C-80E16ADEE18E}"/>
          </ac:spMkLst>
        </pc:spChg>
        <pc:spChg chg="add mod">
          <ac:chgData name="Prashant Atri" userId="94132b96-520a-4863-bf47-f6ca2cecc14b" providerId="ADAL" clId="{DE7F4A67-B1CE-1449-96D0-9BF384619F5E}" dt="2025-04-09T23:41:39.786" v="61" actId="1037"/>
          <ac:spMkLst>
            <pc:docMk/>
            <pc:sldMk cId="2377130703" sldId="261"/>
            <ac:spMk id="8" creationId="{AF2AAE1B-F0E3-64A2-889E-C43E8BD545C9}"/>
          </ac:spMkLst>
        </pc:spChg>
        <pc:spChg chg="mod">
          <ac:chgData name="Prashant Atri" userId="94132b96-520a-4863-bf47-f6ca2cecc14b" providerId="ADAL" clId="{DE7F4A67-B1CE-1449-96D0-9BF384619F5E}" dt="2025-04-09T23:41:14.935" v="44"/>
          <ac:spMkLst>
            <pc:docMk/>
            <pc:sldMk cId="2377130703" sldId="261"/>
            <ac:spMk id="10" creationId="{F37FA21A-FA14-B601-6C2B-6A0B431D3809}"/>
          </ac:spMkLst>
        </pc:spChg>
        <pc:spChg chg="mod">
          <ac:chgData name="Prashant Atri" userId="94132b96-520a-4863-bf47-f6ca2cecc14b" providerId="ADAL" clId="{DE7F4A67-B1CE-1449-96D0-9BF384619F5E}" dt="2025-04-09T23:41:14.935" v="44"/>
          <ac:spMkLst>
            <pc:docMk/>
            <pc:sldMk cId="2377130703" sldId="261"/>
            <ac:spMk id="14" creationId="{58683744-ED9F-19B2-02EC-A839320E24E6}"/>
          </ac:spMkLst>
        </pc:spChg>
        <pc:spChg chg="add mod">
          <ac:chgData name="Prashant Atri" userId="94132b96-520a-4863-bf47-f6ca2cecc14b" providerId="ADAL" clId="{DE7F4A67-B1CE-1449-96D0-9BF384619F5E}" dt="2025-04-09T23:41:39.786" v="61" actId="1037"/>
          <ac:spMkLst>
            <pc:docMk/>
            <pc:sldMk cId="2377130703" sldId="261"/>
            <ac:spMk id="16" creationId="{C34FBABE-8F49-D863-5EE0-EE15CFBBAFAD}"/>
          </ac:spMkLst>
        </pc:spChg>
        <pc:spChg chg="add mod">
          <ac:chgData name="Prashant Atri" userId="94132b96-520a-4863-bf47-f6ca2cecc14b" providerId="ADAL" clId="{DE7F4A67-B1CE-1449-96D0-9BF384619F5E}" dt="2025-04-09T23:41:39.786" v="61" actId="1037"/>
          <ac:spMkLst>
            <pc:docMk/>
            <pc:sldMk cId="2377130703" sldId="261"/>
            <ac:spMk id="17" creationId="{ACEC3155-D104-8574-BB08-CCF1B64EB84F}"/>
          </ac:spMkLst>
        </pc:spChg>
        <pc:spChg chg="add mod">
          <ac:chgData name="Prashant Atri" userId="94132b96-520a-4863-bf47-f6ca2cecc14b" providerId="ADAL" clId="{DE7F4A67-B1CE-1449-96D0-9BF384619F5E}" dt="2025-04-09T23:41:39.786" v="61" actId="1037"/>
          <ac:spMkLst>
            <pc:docMk/>
            <pc:sldMk cId="2377130703" sldId="261"/>
            <ac:spMk id="18" creationId="{27FB70D9-94D0-DE25-5044-33F91F0CD8AA}"/>
          </ac:spMkLst>
        </pc:spChg>
        <pc:spChg chg="add mod">
          <ac:chgData name="Prashant Atri" userId="94132b96-520a-4863-bf47-f6ca2cecc14b" providerId="ADAL" clId="{DE7F4A67-B1CE-1449-96D0-9BF384619F5E}" dt="2025-04-09T23:41:39.786" v="61" actId="1037"/>
          <ac:spMkLst>
            <pc:docMk/>
            <pc:sldMk cId="2377130703" sldId="261"/>
            <ac:spMk id="19" creationId="{21374D1A-489D-8E8C-08B4-F8980CF09D23}"/>
          </ac:spMkLst>
        </pc:spChg>
        <pc:spChg chg="mod">
          <ac:chgData name="Prashant Atri" userId="94132b96-520a-4863-bf47-f6ca2cecc14b" providerId="ADAL" clId="{DE7F4A67-B1CE-1449-96D0-9BF384619F5E}" dt="2025-04-09T23:41:14.935" v="44"/>
          <ac:spMkLst>
            <pc:docMk/>
            <pc:sldMk cId="2377130703" sldId="261"/>
            <ac:spMk id="21" creationId="{509FFD3C-AFD4-2B2C-C217-8C8A632F3FBE}"/>
          </ac:spMkLst>
        </pc:spChg>
        <pc:spChg chg="del">
          <ac:chgData name="Prashant Atri" userId="94132b96-520a-4863-bf47-f6ca2cecc14b" providerId="ADAL" clId="{DE7F4A67-B1CE-1449-96D0-9BF384619F5E}" dt="2025-04-09T23:40:29.674" v="36" actId="478"/>
          <ac:spMkLst>
            <pc:docMk/>
            <pc:sldMk cId="2377130703" sldId="261"/>
            <ac:spMk id="26" creationId="{2643A020-40E3-5CF9-3780-B5A5B68F8FAE}"/>
          </ac:spMkLst>
        </pc:spChg>
        <pc:spChg chg="del">
          <ac:chgData name="Prashant Atri" userId="94132b96-520a-4863-bf47-f6ca2cecc14b" providerId="ADAL" clId="{DE7F4A67-B1CE-1449-96D0-9BF384619F5E}" dt="2025-04-09T23:40:22.156" v="34" actId="478"/>
          <ac:spMkLst>
            <pc:docMk/>
            <pc:sldMk cId="2377130703" sldId="261"/>
            <ac:spMk id="27" creationId="{402F8169-025F-E1C0-008F-5C26F49EF143}"/>
          </ac:spMkLst>
        </pc:spChg>
        <pc:spChg chg="del">
          <ac:chgData name="Prashant Atri" userId="94132b96-520a-4863-bf47-f6ca2cecc14b" providerId="ADAL" clId="{DE7F4A67-B1CE-1449-96D0-9BF384619F5E}" dt="2025-04-09T23:40:20.019" v="33" actId="478"/>
          <ac:spMkLst>
            <pc:docMk/>
            <pc:sldMk cId="2377130703" sldId="261"/>
            <ac:spMk id="28" creationId="{77F1E70E-EB18-E440-764E-B2897D399800}"/>
          </ac:spMkLst>
        </pc:spChg>
        <pc:spChg chg="del">
          <ac:chgData name="Prashant Atri" userId="94132b96-520a-4863-bf47-f6ca2cecc14b" providerId="ADAL" clId="{DE7F4A67-B1CE-1449-96D0-9BF384619F5E}" dt="2025-04-09T23:40:43.812" v="42" actId="478"/>
          <ac:spMkLst>
            <pc:docMk/>
            <pc:sldMk cId="2377130703" sldId="261"/>
            <ac:spMk id="29" creationId="{49378A46-6625-89F2-3D88-36772EADC4FE}"/>
          </ac:spMkLst>
        </pc:spChg>
        <pc:spChg chg="del">
          <ac:chgData name="Prashant Atri" userId="94132b96-520a-4863-bf47-f6ca2cecc14b" providerId="ADAL" clId="{DE7F4A67-B1CE-1449-96D0-9BF384619F5E}" dt="2025-04-09T23:40:45.553" v="43" actId="478"/>
          <ac:spMkLst>
            <pc:docMk/>
            <pc:sldMk cId="2377130703" sldId="261"/>
            <ac:spMk id="30" creationId="{CBB11328-DCBA-7720-54D6-92FA713C8987}"/>
          </ac:spMkLst>
        </pc:spChg>
        <pc:grpChg chg="mod">
          <ac:chgData name="Prashant Atri" userId="94132b96-520a-4863-bf47-f6ca2cecc14b" providerId="ADAL" clId="{DE7F4A67-B1CE-1449-96D0-9BF384619F5E}" dt="2025-04-09T23:41:39.786" v="61" actId="1037"/>
          <ac:grpSpMkLst>
            <pc:docMk/>
            <pc:sldMk cId="2377130703" sldId="261"/>
            <ac:grpSpMk id="9" creationId="{25E61FB4-5569-1DA0-2DE0-638860E8EBD1}"/>
          </ac:grpSpMkLst>
        </pc:grpChg>
        <pc:grpChg chg="mod">
          <ac:chgData name="Prashant Atri" userId="94132b96-520a-4863-bf47-f6ca2cecc14b" providerId="ADAL" clId="{DE7F4A67-B1CE-1449-96D0-9BF384619F5E}" dt="2025-04-09T23:41:39.786" v="61" actId="1037"/>
          <ac:grpSpMkLst>
            <pc:docMk/>
            <pc:sldMk cId="2377130703" sldId="261"/>
            <ac:grpSpMk id="13" creationId="{843C27CD-7905-3000-B1F6-E3BE33AEFEE0}"/>
          </ac:grpSpMkLst>
        </pc:grpChg>
        <pc:grpChg chg="mod">
          <ac:chgData name="Prashant Atri" userId="94132b96-520a-4863-bf47-f6ca2cecc14b" providerId="ADAL" clId="{DE7F4A67-B1CE-1449-96D0-9BF384619F5E}" dt="2025-04-09T23:41:39.786" v="61" actId="1037"/>
          <ac:grpSpMkLst>
            <pc:docMk/>
            <pc:sldMk cId="2377130703" sldId="261"/>
            <ac:grpSpMk id="20" creationId="{E36F94CD-CE8B-7A30-CB80-35A212CBC4C3}"/>
          </ac:grpSpMkLst>
        </pc:grpChg>
        <pc:picChg chg="mod">
          <ac:chgData name="Prashant Atri" userId="94132b96-520a-4863-bf47-f6ca2cecc14b" providerId="ADAL" clId="{DE7F4A67-B1CE-1449-96D0-9BF384619F5E}" dt="2025-04-09T23:40:38.246" v="40" actId="1076"/>
          <ac:picMkLst>
            <pc:docMk/>
            <pc:sldMk cId="2377130703" sldId="261"/>
            <ac:picMk id="11" creationId="{42392817-DFA3-F674-F2F9-B080125EC59D}"/>
          </ac:picMkLst>
        </pc:picChg>
        <pc:picChg chg="mod">
          <ac:chgData name="Prashant Atri" userId="94132b96-520a-4863-bf47-f6ca2cecc14b" providerId="ADAL" clId="{DE7F4A67-B1CE-1449-96D0-9BF384619F5E}" dt="2025-04-09T23:41:14.935" v="44"/>
          <ac:picMkLst>
            <pc:docMk/>
            <pc:sldMk cId="2377130703" sldId="261"/>
            <ac:picMk id="15" creationId="{AF697F53-BB43-2F7F-353A-8AD010A9795F}"/>
          </ac:picMkLst>
        </pc:picChg>
      </pc:sldChg>
      <pc:sldChg chg="addSp modSp new del">
        <pc:chgData name="Prashant Atri" userId="94132b96-520a-4863-bf47-f6ca2cecc14b" providerId="ADAL" clId="{DE7F4A67-B1CE-1449-96D0-9BF384619F5E}" dt="2025-04-09T23:34:39.171" v="2" actId="2696"/>
        <pc:sldMkLst>
          <pc:docMk/>
          <pc:sldMk cId="3731585958" sldId="261"/>
        </pc:sldMkLst>
        <pc:spChg chg="add mod">
          <ac:chgData name="Prashant Atri" userId="94132b96-520a-4863-bf47-f6ca2cecc14b" providerId="ADAL" clId="{DE7F4A67-B1CE-1449-96D0-9BF384619F5E}" dt="2025-04-09T23:34:37.013" v="1" actId="767"/>
          <ac:spMkLst>
            <pc:docMk/>
            <pc:sldMk cId="3731585958" sldId="261"/>
            <ac:spMk id="3" creationId="{770BECE7-CF50-511C-A69E-19DF4ED5187F}"/>
          </ac:spMkLst>
        </pc:spChg>
      </pc:sldChg>
      <pc:sldChg chg="add setBg">
        <pc:chgData name="Prashant Atri" userId="94132b96-520a-4863-bf47-f6ca2cecc14b" providerId="ADAL" clId="{DE7F4A67-B1CE-1449-96D0-9BF384619F5E}" dt="2025-04-09T23:37:14.342" v="18"/>
        <pc:sldMkLst>
          <pc:docMk/>
          <pc:sldMk cId="2040935424" sldId="277"/>
        </pc:sldMkLst>
      </pc:sldChg>
      <pc:sldChg chg="modSp add mod ord setBg">
        <pc:chgData name="Prashant Atri" userId="94132b96-520a-4863-bf47-f6ca2cecc14b" providerId="ADAL" clId="{DE7F4A67-B1CE-1449-96D0-9BF384619F5E}" dt="2025-04-09T23:39:45.464" v="27" actId="20578"/>
        <pc:sldMkLst>
          <pc:docMk/>
          <pc:sldMk cId="24048652" sldId="281"/>
        </pc:sldMkLst>
        <pc:spChg chg="mod">
          <ac:chgData name="Prashant Atri" userId="94132b96-520a-4863-bf47-f6ca2cecc14b" providerId="ADAL" clId="{DE7F4A67-B1CE-1449-96D0-9BF384619F5E}" dt="2025-04-09T23:39:37.974" v="26" actId="207"/>
          <ac:spMkLst>
            <pc:docMk/>
            <pc:sldMk cId="24048652" sldId="281"/>
            <ac:spMk id="2" creationId="{3AFE2480-803B-3F6C-86F1-182313AB65E0}"/>
          </ac:spMkLst>
        </pc:spChg>
        <pc:spChg chg="mod">
          <ac:chgData name="Prashant Atri" userId="94132b96-520a-4863-bf47-f6ca2cecc14b" providerId="ADAL" clId="{DE7F4A67-B1CE-1449-96D0-9BF384619F5E}" dt="2025-04-09T23:39:30.978" v="25" actId="207"/>
          <ac:spMkLst>
            <pc:docMk/>
            <pc:sldMk cId="24048652" sldId="281"/>
            <ac:spMk id="3" creationId="{DA21163E-A385-0204-64DF-0BAC21858048}"/>
          </ac:spMkLst>
        </pc:spChg>
      </pc:sldChg>
      <pc:sldChg chg="delSp modSp add del mod setBg">
        <pc:chgData name="Prashant Atri" userId="94132b96-520a-4863-bf47-f6ca2cecc14b" providerId="ADAL" clId="{DE7F4A67-B1CE-1449-96D0-9BF384619F5E}" dt="2025-04-09T23:41:59.948" v="87" actId="2696"/>
        <pc:sldMkLst>
          <pc:docMk/>
          <pc:sldMk cId="3252376853" sldId="292"/>
        </pc:sldMkLst>
        <pc:spChg chg="mod">
          <ac:chgData name="Prashant Atri" userId="94132b96-520a-4863-bf47-f6ca2cecc14b" providerId="ADAL" clId="{DE7F4A67-B1CE-1449-96D0-9BF384619F5E}" dt="2025-04-09T23:38:06.739" v="22" actId="108"/>
          <ac:spMkLst>
            <pc:docMk/>
            <pc:sldMk cId="3252376853" sldId="292"/>
            <ac:spMk id="44" creationId="{24506BDD-6FF1-A5F0-E78F-7ACB2B192EC2}"/>
          </ac:spMkLst>
        </pc:spChg>
        <pc:picChg chg="del">
          <ac:chgData name="Prashant Atri" userId="94132b96-520a-4863-bf47-f6ca2cecc14b" providerId="ADAL" clId="{DE7F4A67-B1CE-1449-96D0-9BF384619F5E}" dt="2025-04-09T23:37:37.189" v="20" actId="478"/>
          <ac:picMkLst>
            <pc:docMk/>
            <pc:sldMk cId="3252376853" sldId="292"/>
            <ac:picMk id="43" creationId="{B1692827-82A0-13DC-8956-674D4F0CD325}"/>
          </ac:picMkLst>
        </pc:picChg>
      </pc:sldChg>
      <pc:sldChg chg="addSp delSp modSp add del mod setBg delDesignElem">
        <pc:chgData name="Prashant Atri" userId="94132b96-520a-4863-bf47-f6ca2cecc14b" providerId="ADAL" clId="{DE7F4A67-B1CE-1449-96D0-9BF384619F5E}" dt="2025-04-10T16:18:16.527" v="508" actId="20577"/>
        <pc:sldMkLst>
          <pc:docMk/>
          <pc:sldMk cId="1771746678" sldId="294"/>
        </pc:sldMkLst>
        <pc:spChg chg="mod">
          <ac:chgData name="Prashant Atri" userId="94132b96-520a-4863-bf47-f6ca2cecc14b" providerId="ADAL" clId="{DE7F4A67-B1CE-1449-96D0-9BF384619F5E}" dt="2025-04-10T05:02:50.815" v="434" actId="14100"/>
          <ac:spMkLst>
            <pc:docMk/>
            <pc:sldMk cId="1771746678" sldId="294"/>
            <ac:spMk id="2" creationId="{000010B2-E10D-81B5-DC75-BEA92C99BDAF}"/>
          </ac:spMkLst>
        </pc:spChg>
        <pc:spChg chg="add del mod">
          <ac:chgData name="Prashant Atri" userId="94132b96-520a-4863-bf47-f6ca2cecc14b" providerId="ADAL" clId="{DE7F4A67-B1CE-1449-96D0-9BF384619F5E}" dt="2025-04-09T23:35:59.683" v="16"/>
          <ac:spMkLst>
            <pc:docMk/>
            <pc:sldMk cId="1771746678" sldId="294"/>
            <ac:spMk id="3" creationId="{B1FFACD1-39C4-EDFA-0951-37FBA91D9511}"/>
          </ac:spMkLst>
        </pc:spChg>
        <pc:spChg chg="mod">
          <ac:chgData name="Prashant Atri" userId="94132b96-520a-4863-bf47-f6ca2cecc14b" providerId="ADAL" clId="{DE7F4A67-B1CE-1449-96D0-9BF384619F5E}" dt="2025-04-10T05:02:41.746" v="431" actId="1076"/>
          <ac:spMkLst>
            <pc:docMk/>
            <pc:sldMk cId="1771746678" sldId="294"/>
            <ac:spMk id="5" creationId="{4378CA33-69B3-31C9-7ED6-B94D53479537}"/>
          </ac:spMkLst>
        </pc:spChg>
        <pc:spChg chg="add del">
          <ac:chgData name="Prashant Atri" userId="94132b96-520a-4863-bf47-f6ca2cecc14b" providerId="ADAL" clId="{DE7F4A67-B1CE-1449-96D0-9BF384619F5E}" dt="2025-04-09T23:35:24.844" v="11"/>
          <ac:spMkLst>
            <pc:docMk/>
            <pc:sldMk cId="1771746678" sldId="294"/>
            <ac:spMk id="10" creationId="{2550BE34-C2B8-49B8-8519-67A8CAD51AE9}"/>
          </ac:spMkLst>
        </pc:spChg>
        <pc:spChg chg="add del">
          <ac:chgData name="Prashant Atri" userId="94132b96-520a-4863-bf47-f6ca2cecc14b" providerId="ADAL" clId="{DE7F4A67-B1CE-1449-96D0-9BF384619F5E}" dt="2025-04-09T23:35:24.844" v="11"/>
          <ac:spMkLst>
            <pc:docMk/>
            <pc:sldMk cId="1771746678" sldId="294"/>
            <ac:spMk id="12" creationId="{A7457DD9-5A45-400A-AB4B-4B4EDECA25F1}"/>
          </ac:spMkLst>
        </pc:spChg>
        <pc:spChg chg="add del">
          <ac:chgData name="Prashant Atri" userId="94132b96-520a-4863-bf47-f6ca2cecc14b" providerId="ADAL" clId="{DE7F4A67-B1CE-1449-96D0-9BF384619F5E}" dt="2025-04-09T23:35:24.844" v="11"/>
          <ac:spMkLst>
            <pc:docMk/>
            <pc:sldMk cId="1771746678" sldId="294"/>
            <ac:spMk id="14" creationId="{441CF7D6-A660-431A-B0BB-140A0D5556B6}"/>
          </ac:spMkLst>
        </pc:spChg>
        <pc:spChg chg="add del">
          <ac:chgData name="Prashant Atri" userId="94132b96-520a-4863-bf47-f6ca2cecc14b" providerId="ADAL" clId="{DE7F4A67-B1CE-1449-96D0-9BF384619F5E}" dt="2025-04-09T23:35:24.844" v="11"/>
          <ac:spMkLst>
            <pc:docMk/>
            <pc:sldMk cId="1771746678" sldId="294"/>
            <ac:spMk id="16" creationId="{0570A85B-3810-4F95-97B0-CBF4CCDB381C}"/>
          </ac:spMkLst>
        </pc:spChg>
        <pc:graphicFrameChg chg="mod modGraphic">
          <ac:chgData name="Prashant Atri" userId="94132b96-520a-4863-bf47-f6ca2cecc14b" providerId="ADAL" clId="{DE7F4A67-B1CE-1449-96D0-9BF384619F5E}" dt="2025-04-10T16:18:16.527" v="508" actId="20577"/>
          <ac:graphicFrameMkLst>
            <pc:docMk/>
            <pc:sldMk cId="1771746678" sldId="294"/>
            <ac:graphicFrameMk id="4" creationId="{40B4F40B-A3B4-2E1D-2EB6-6452E3AB157E}"/>
          </ac:graphicFrameMkLst>
        </pc:graphicFrameChg>
      </pc:sldChg>
      <pc:sldMasterChg chg="delSldLayout">
        <pc:chgData name="Prashant Atri" userId="94132b96-520a-4863-bf47-f6ca2cecc14b" providerId="ADAL" clId="{DE7F4A67-B1CE-1449-96D0-9BF384619F5E}" dt="2025-04-09T23:41:59.948" v="87" actId="2696"/>
        <pc:sldMasterMkLst>
          <pc:docMk/>
          <pc:sldMasterMk cId="1162756210" sldId="2147483705"/>
        </pc:sldMasterMkLst>
        <pc:sldLayoutChg chg="del">
          <pc:chgData name="Prashant Atri" userId="94132b96-520a-4863-bf47-f6ca2cecc14b" providerId="ADAL" clId="{DE7F4A67-B1CE-1449-96D0-9BF384619F5E}" dt="2025-04-09T23:41:59.948" v="87" actId="2696"/>
          <pc:sldLayoutMkLst>
            <pc:docMk/>
            <pc:sldMasterMk cId="1162756210" sldId="2147483705"/>
            <pc:sldLayoutMk cId="1981896237" sldId="2147484214"/>
          </pc:sldLayoutMkLst>
        </pc:sldLayoutChg>
      </pc:sldMasterChg>
    </pc:docChg>
  </pc:docChgLst>
  <pc:docChgLst>
    <pc:chgData name="James Tooles" userId="831746c4-f1a4-4e78-99f9-c748f9babc85" providerId="ADAL" clId="{774FC1C6-A3A8-4E11-B657-77103C9FDF5D}"/>
    <pc:docChg chg="undo custSel addSld delSld modSld sldOrd delMainMaster addSection modSection">
      <pc:chgData name="James Tooles" userId="831746c4-f1a4-4e78-99f9-c748f9babc85" providerId="ADAL" clId="{774FC1C6-A3A8-4E11-B657-77103C9FDF5D}" dt="2025-04-10T16:49:46.418" v="2043" actId="1038"/>
      <pc:docMkLst>
        <pc:docMk/>
      </pc:docMkLst>
      <pc:sldChg chg="addSp modSp add mod ord">
        <pc:chgData name="James Tooles" userId="831746c4-f1a4-4e78-99f9-c748f9babc85" providerId="ADAL" clId="{774FC1C6-A3A8-4E11-B657-77103C9FDF5D}" dt="2025-04-10T15:30:01.895" v="1228" actId="115"/>
        <pc:sldMkLst>
          <pc:docMk/>
          <pc:sldMk cId="3621283749" sldId="256"/>
        </pc:sldMkLst>
        <pc:spChg chg="add mod">
          <ac:chgData name="James Tooles" userId="831746c4-f1a4-4e78-99f9-c748f9babc85" providerId="ADAL" clId="{774FC1C6-A3A8-4E11-B657-77103C9FDF5D}" dt="2025-04-10T13:34:27.103" v="1158"/>
          <ac:spMkLst>
            <pc:docMk/>
            <pc:sldMk cId="3621283749" sldId="256"/>
            <ac:spMk id="5" creationId="{1C4B3BD4-D578-AAB0-9ACE-6F26D3069A44}"/>
          </ac:spMkLst>
        </pc:spChg>
        <pc:spChg chg="add mod">
          <ac:chgData name="James Tooles" userId="831746c4-f1a4-4e78-99f9-c748f9babc85" providerId="ADAL" clId="{774FC1C6-A3A8-4E11-B657-77103C9FDF5D}" dt="2025-04-10T15:30:01.895" v="1228" actId="115"/>
          <ac:spMkLst>
            <pc:docMk/>
            <pc:sldMk cId="3621283749" sldId="256"/>
            <ac:spMk id="9" creationId="{6563B613-BEEF-FD81-1DA3-C2ADF88EA136}"/>
          </ac:spMkLst>
        </pc:spChg>
        <pc:picChg chg="add mod">
          <ac:chgData name="James Tooles" userId="831746c4-f1a4-4e78-99f9-c748f9babc85" providerId="ADAL" clId="{774FC1C6-A3A8-4E11-B657-77103C9FDF5D}" dt="2025-04-10T13:34:27.103" v="1158"/>
          <ac:picMkLst>
            <pc:docMk/>
            <pc:sldMk cId="3621283749" sldId="256"/>
            <ac:picMk id="8" creationId="{1A080335-1239-0D80-E8DE-C44A74ED0604}"/>
          </ac:picMkLst>
        </pc:picChg>
      </pc:sldChg>
      <pc:sldChg chg="add del setBg">
        <pc:chgData name="James Tooles" userId="831746c4-f1a4-4e78-99f9-c748f9babc85" providerId="ADAL" clId="{774FC1C6-A3A8-4E11-B657-77103C9FDF5D}" dt="2025-03-31T04:41:46.425" v="593"/>
        <pc:sldMkLst>
          <pc:docMk/>
          <pc:sldMk cId="1404485460" sldId="258"/>
        </pc:sldMkLst>
      </pc:sldChg>
      <pc:sldChg chg="addSp delSp modSp add mod delAnim modAnim">
        <pc:chgData name="James Tooles" userId="831746c4-f1a4-4e78-99f9-c748f9babc85" providerId="ADAL" clId="{774FC1C6-A3A8-4E11-B657-77103C9FDF5D}" dt="2025-03-31T04:43:36.534" v="679" actId="20577"/>
        <pc:sldMkLst>
          <pc:docMk/>
          <pc:sldMk cId="3967683372" sldId="258"/>
        </pc:sldMkLst>
        <pc:spChg chg="mod">
          <ac:chgData name="James Tooles" userId="831746c4-f1a4-4e78-99f9-c748f9babc85" providerId="ADAL" clId="{774FC1C6-A3A8-4E11-B657-77103C9FDF5D}" dt="2025-03-31T04:43:33.429" v="673" actId="1036"/>
          <ac:spMkLst>
            <pc:docMk/>
            <pc:sldMk cId="3967683372" sldId="258"/>
            <ac:spMk id="11" creationId="{BDB19396-6D32-BD5F-D0E3-30C833DC531D}"/>
          </ac:spMkLst>
        </pc:spChg>
        <pc:spChg chg="mod">
          <ac:chgData name="James Tooles" userId="831746c4-f1a4-4e78-99f9-c748f9babc85" providerId="ADAL" clId="{774FC1C6-A3A8-4E11-B657-77103C9FDF5D}" dt="2025-03-31T04:42:37.442" v="617" actId="20577"/>
          <ac:spMkLst>
            <pc:docMk/>
            <pc:sldMk cId="3967683372" sldId="258"/>
            <ac:spMk id="13" creationId="{21ACF3CB-A2FA-0904-00D0-00D76E37D3A5}"/>
          </ac:spMkLst>
        </pc:spChg>
        <pc:spChg chg="mod">
          <ac:chgData name="James Tooles" userId="831746c4-f1a4-4e78-99f9-c748f9babc85" providerId="ADAL" clId="{774FC1C6-A3A8-4E11-B657-77103C9FDF5D}" dt="2025-03-31T04:42:49.140" v="621" actId="20577"/>
          <ac:spMkLst>
            <pc:docMk/>
            <pc:sldMk cId="3967683372" sldId="258"/>
            <ac:spMk id="51" creationId="{AF596668-AB90-E4E1-F5A0-2E9407B88F79}"/>
          </ac:spMkLst>
        </pc:spChg>
        <pc:spChg chg="mod">
          <ac:chgData name="James Tooles" userId="831746c4-f1a4-4e78-99f9-c748f9babc85" providerId="ADAL" clId="{774FC1C6-A3A8-4E11-B657-77103C9FDF5D}" dt="2025-03-31T04:43:36.534" v="679" actId="20577"/>
          <ac:spMkLst>
            <pc:docMk/>
            <pc:sldMk cId="3967683372" sldId="258"/>
            <ac:spMk id="56" creationId="{4D772F39-9C61-5898-0E7A-1CA903531337}"/>
          </ac:spMkLst>
        </pc:spChg>
        <pc:picChg chg="add mod">
          <ac:chgData name="James Tooles" userId="831746c4-f1a4-4e78-99f9-c748f9babc85" providerId="ADAL" clId="{774FC1C6-A3A8-4E11-B657-77103C9FDF5D}" dt="2025-03-31T04:42:30.567" v="605" actId="1076"/>
          <ac:picMkLst>
            <pc:docMk/>
            <pc:sldMk cId="3967683372" sldId="258"/>
            <ac:picMk id="3" creationId="{A46D95FA-F7C5-6916-DC95-A157FCCEAFF9}"/>
          </ac:picMkLst>
        </pc:picChg>
        <pc:picChg chg="add mod">
          <ac:chgData name="James Tooles" userId="831746c4-f1a4-4e78-99f9-c748f9babc85" providerId="ADAL" clId="{774FC1C6-A3A8-4E11-B657-77103C9FDF5D}" dt="2025-03-31T04:43:00.304" v="625" actId="1076"/>
          <ac:picMkLst>
            <pc:docMk/>
            <pc:sldMk cId="3967683372" sldId="258"/>
            <ac:picMk id="4" creationId="{893529EA-AC64-1BDE-7CD7-954EE02F9D3B}"/>
          </ac:picMkLst>
        </pc:picChg>
        <pc:picChg chg="add mod">
          <ac:chgData name="James Tooles" userId="831746c4-f1a4-4e78-99f9-c748f9babc85" providerId="ADAL" clId="{774FC1C6-A3A8-4E11-B657-77103C9FDF5D}" dt="2025-03-31T04:43:23.437" v="640" actId="1076"/>
          <ac:picMkLst>
            <pc:docMk/>
            <pc:sldMk cId="3967683372" sldId="258"/>
            <ac:picMk id="5" creationId="{957B7FE2-AA3C-4FCC-D199-6AC3141D4E3F}"/>
          </ac:picMkLst>
        </pc:picChg>
        <pc:picChg chg="mod">
          <ac:chgData name="James Tooles" userId="831746c4-f1a4-4e78-99f9-c748f9babc85" providerId="ADAL" clId="{774FC1C6-A3A8-4E11-B657-77103C9FDF5D}" dt="2025-03-31T04:42:14.462" v="601" actId="1076"/>
          <ac:picMkLst>
            <pc:docMk/>
            <pc:sldMk cId="3967683372" sldId="258"/>
            <ac:picMk id="17" creationId="{549C6ED7-54DA-023B-A627-7637064287DF}"/>
          </ac:picMkLst>
        </pc:picChg>
        <pc:cxnChg chg="mod">
          <ac:chgData name="James Tooles" userId="831746c4-f1a4-4e78-99f9-c748f9babc85" providerId="ADAL" clId="{774FC1C6-A3A8-4E11-B657-77103C9FDF5D}" dt="2025-03-31T04:41:59.741" v="597" actId="14100"/>
          <ac:cxnSpMkLst>
            <pc:docMk/>
            <pc:sldMk cId="3967683372" sldId="258"/>
            <ac:cxnSpMk id="19" creationId="{EC840EDD-D315-1965-43B7-AD33A77C55B6}"/>
          </ac:cxnSpMkLst>
        </pc:cxnChg>
        <pc:cxnChg chg="mod">
          <ac:chgData name="James Tooles" userId="831746c4-f1a4-4e78-99f9-c748f9babc85" providerId="ADAL" clId="{774FC1C6-A3A8-4E11-B657-77103C9FDF5D}" dt="2025-03-31T04:42:01.488" v="598" actId="478"/>
          <ac:cxnSpMkLst>
            <pc:docMk/>
            <pc:sldMk cId="3967683372" sldId="258"/>
            <ac:cxnSpMk id="29" creationId="{B30C0514-7CD2-DB88-A6B4-281CA7743639}"/>
          </ac:cxnSpMkLst>
        </pc:cxnChg>
        <pc:cxnChg chg="mod">
          <ac:chgData name="James Tooles" userId="831746c4-f1a4-4e78-99f9-c748f9babc85" providerId="ADAL" clId="{774FC1C6-A3A8-4E11-B657-77103C9FDF5D}" dt="2025-03-31T04:42:01.488" v="598" actId="478"/>
          <ac:cxnSpMkLst>
            <pc:docMk/>
            <pc:sldMk cId="3967683372" sldId="258"/>
            <ac:cxnSpMk id="40" creationId="{A3E3231B-61BF-2E25-0985-11649CC54934}"/>
          </ac:cxnSpMkLst>
        </pc:cxnChg>
        <pc:cxnChg chg="mod">
          <ac:chgData name="James Tooles" userId="831746c4-f1a4-4e78-99f9-c748f9babc85" providerId="ADAL" clId="{774FC1C6-A3A8-4E11-B657-77103C9FDF5D}" dt="2025-03-31T04:42:01.488" v="598" actId="478"/>
          <ac:cxnSpMkLst>
            <pc:docMk/>
            <pc:sldMk cId="3967683372" sldId="258"/>
            <ac:cxnSpMk id="43" creationId="{43E04750-E3FD-21BD-B4CE-7A0030035035}"/>
          </ac:cxnSpMkLst>
        </pc:cxnChg>
      </pc:sldChg>
      <pc:sldChg chg="addSp modSp add mod modAnim">
        <pc:chgData name="James Tooles" userId="831746c4-f1a4-4e78-99f9-c748f9babc85" providerId="ADAL" clId="{774FC1C6-A3A8-4E11-B657-77103C9FDF5D}" dt="2025-03-31T05:17:25.750" v="796" actId="692"/>
        <pc:sldMkLst>
          <pc:docMk/>
          <pc:sldMk cId="1172685767" sldId="260"/>
        </pc:sldMkLst>
        <pc:spChg chg="add mod">
          <ac:chgData name="James Tooles" userId="831746c4-f1a4-4e78-99f9-c748f9babc85" providerId="ADAL" clId="{774FC1C6-A3A8-4E11-B657-77103C9FDF5D}" dt="2025-03-31T05:15:09.192" v="764" actId="20577"/>
          <ac:spMkLst>
            <pc:docMk/>
            <pc:sldMk cId="1172685767" sldId="260"/>
            <ac:spMk id="9" creationId="{8EEDA33F-3C36-C1EA-49B4-9B30BC88E963}"/>
          </ac:spMkLst>
        </pc:spChg>
        <pc:spChg chg="add mod">
          <ac:chgData name="James Tooles" userId="831746c4-f1a4-4e78-99f9-c748f9babc85" providerId="ADAL" clId="{774FC1C6-A3A8-4E11-B657-77103C9FDF5D}" dt="2025-03-31T05:16:33.562" v="784" actId="20577"/>
          <ac:spMkLst>
            <pc:docMk/>
            <pc:sldMk cId="1172685767" sldId="260"/>
            <ac:spMk id="14" creationId="{2C45420B-AC09-538D-3B3F-E92BBAA5B8D9}"/>
          </ac:spMkLst>
        </pc:spChg>
        <pc:spChg chg="mod">
          <ac:chgData name="James Tooles" userId="831746c4-f1a4-4e78-99f9-c748f9babc85" providerId="ADAL" clId="{774FC1C6-A3A8-4E11-B657-77103C9FDF5D}" dt="2025-03-31T05:14:53.808" v="755" actId="1036"/>
          <ac:spMkLst>
            <pc:docMk/>
            <pc:sldMk cId="1172685767" sldId="260"/>
            <ac:spMk id="32" creationId="{B4B92756-D06E-AA8A-3623-17B0E5C58BED}"/>
          </ac:spMkLst>
        </pc:spChg>
        <pc:picChg chg="add mod">
          <ac:chgData name="James Tooles" userId="831746c4-f1a4-4e78-99f9-c748f9babc85" providerId="ADAL" clId="{774FC1C6-A3A8-4E11-B657-77103C9FDF5D}" dt="2025-03-31T05:16:18.870" v="769" actId="1076"/>
          <ac:picMkLst>
            <pc:docMk/>
            <pc:sldMk cId="1172685767" sldId="260"/>
            <ac:picMk id="12" creationId="{A59A1F5D-A79B-1AC9-11F6-C6CAB2E4362F}"/>
          </ac:picMkLst>
        </pc:picChg>
        <pc:picChg chg="mod">
          <ac:chgData name="James Tooles" userId="831746c4-f1a4-4e78-99f9-c748f9babc85" providerId="ADAL" clId="{774FC1C6-A3A8-4E11-B657-77103C9FDF5D}" dt="2025-03-31T05:14:53.808" v="755" actId="1036"/>
          <ac:picMkLst>
            <pc:docMk/>
            <pc:sldMk cId="1172685767" sldId="260"/>
            <ac:picMk id="17" creationId="{1BAF0149-9D94-321D-0891-09589A3A806E}"/>
          </ac:picMkLst>
        </pc:picChg>
        <pc:picChg chg="add mod">
          <ac:chgData name="James Tooles" userId="831746c4-f1a4-4e78-99f9-c748f9babc85" providerId="ADAL" clId="{774FC1C6-A3A8-4E11-B657-77103C9FDF5D}" dt="2025-03-31T05:14:35.155" v="751" actId="1035"/>
          <ac:picMkLst>
            <pc:docMk/>
            <pc:sldMk cId="1172685767" sldId="260"/>
            <ac:picMk id="2050" creationId="{1B27CCA7-1554-C798-ABFE-1B237E2CA3DE}"/>
          </ac:picMkLst>
        </pc:picChg>
        <pc:cxnChg chg="add mod">
          <ac:chgData name="James Tooles" userId="831746c4-f1a4-4e78-99f9-c748f9babc85" providerId="ADAL" clId="{774FC1C6-A3A8-4E11-B657-77103C9FDF5D}" dt="2025-03-31T05:14:53.808" v="755" actId="1036"/>
          <ac:cxnSpMkLst>
            <pc:docMk/>
            <pc:sldMk cId="1172685767" sldId="260"/>
            <ac:cxnSpMk id="6" creationId="{A294A97E-D3ED-0659-3A91-D1BF0F2526E3}"/>
          </ac:cxnSpMkLst>
        </pc:cxnChg>
        <pc:cxnChg chg="add mod">
          <ac:chgData name="James Tooles" userId="831746c4-f1a4-4e78-99f9-c748f9babc85" providerId="ADAL" clId="{774FC1C6-A3A8-4E11-B657-77103C9FDF5D}" dt="2025-03-31T05:17:25.750" v="796" actId="692"/>
          <ac:cxnSpMkLst>
            <pc:docMk/>
            <pc:sldMk cId="1172685767" sldId="260"/>
            <ac:cxnSpMk id="16" creationId="{26778DE0-B8AC-672A-6EDF-2248FCCA1F72}"/>
          </ac:cxnSpMkLst>
        </pc:cxnChg>
        <pc:cxnChg chg="mod">
          <ac:chgData name="James Tooles" userId="831746c4-f1a4-4e78-99f9-c748f9babc85" providerId="ADAL" clId="{774FC1C6-A3A8-4E11-B657-77103C9FDF5D}" dt="2025-03-31T05:14:35.155" v="751" actId="1035"/>
          <ac:cxnSpMkLst>
            <pc:docMk/>
            <pc:sldMk cId="1172685767" sldId="260"/>
            <ac:cxnSpMk id="19" creationId="{BE4731A5-D1AB-5521-645C-6FA4311FDBA0}"/>
          </ac:cxnSpMkLst>
        </pc:cxnChg>
      </pc:sldChg>
      <pc:sldChg chg="add del setBg">
        <pc:chgData name="James Tooles" userId="831746c4-f1a4-4e78-99f9-c748f9babc85" providerId="ADAL" clId="{774FC1C6-A3A8-4E11-B657-77103C9FDF5D}" dt="2025-03-31T05:12:52.587" v="689"/>
        <pc:sldMkLst>
          <pc:docMk/>
          <pc:sldMk cId="1604291844" sldId="260"/>
        </pc:sldMkLst>
      </pc:sldChg>
      <pc:sldChg chg="addSp modSp add del mod modAnim">
        <pc:chgData name="James Tooles" userId="831746c4-f1a4-4e78-99f9-c748f9babc85" providerId="ADAL" clId="{774FC1C6-A3A8-4E11-B657-77103C9FDF5D}" dt="2025-03-31T05:42:23.004" v="1086" actId="47"/>
        <pc:sldMkLst>
          <pc:docMk/>
          <pc:sldMk cId="2023297823" sldId="261"/>
        </pc:sldMkLst>
      </pc:sldChg>
      <pc:sldChg chg="modSp add mod">
        <pc:chgData name="James Tooles" userId="831746c4-f1a4-4e78-99f9-c748f9babc85" providerId="ADAL" clId="{774FC1C6-A3A8-4E11-B657-77103C9FDF5D}" dt="2025-04-10T13:34:06.343" v="1157" actId="207"/>
        <pc:sldMkLst>
          <pc:docMk/>
          <pc:sldMk cId="920684379" sldId="262"/>
        </pc:sldMkLst>
        <pc:spChg chg="mod">
          <ac:chgData name="James Tooles" userId="831746c4-f1a4-4e78-99f9-c748f9babc85" providerId="ADAL" clId="{774FC1C6-A3A8-4E11-B657-77103C9FDF5D}" dt="2025-04-10T13:34:06.343" v="1157" actId="207"/>
          <ac:spMkLst>
            <pc:docMk/>
            <pc:sldMk cId="920684379" sldId="262"/>
            <ac:spMk id="11" creationId="{D396BBC6-FC82-E49B-5043-45DB815FC701}"/>
          </ac:spMkLst>
        </pc:spChg>
      </pc:sldChg>
      <pc:sldChg chg="add del">
        <pc:chgData name="James Tooles" userId="831746c4-f1a4-4e78-99f9-c748f9babc85" providerId="ADAL" clId="{774FC1C6-A3A8-4E11-B657-77103C9FDF5D}" dt="2025-04-08T21:40:39.898" v="1144"/>
        <pc:sldMkLst>
          <pc:docMk/>
          <pc:sldMk cId="2133022426" sldId="276"/>
        </pc:sldMkLst>
      </pc:sldChg>
      <pc:sldChg chg="add del">
        <pc:chgData name="James Tooles" userId="831746c4-f1a4-4e78-99f9-c748f9babc85" providerId="ADAL" clId="{774FC1C6-A3A8-4E11-B657-77103C9FDF5D}" dt="2025-04-08T21:40:39.898" v="1144"/>
        <pc:sldMkLst>
          <pc:docMk/>
          <pc:sldMk cId="2669003191" sldId="286"/>
        </pc:sldMkLst>
      </pc:sldChg>
      <pc:sldChg chg="add del">
        <pc:chgData name="James Tooles" userId="831746c4-f1a4-4e78-99f9-c748f9babc85" providerId="ADAL" clId="{774FC1C6-A3A8-4E11-B657-77103C9FDF5D}" dt="2025-04-08T21:40:39.898" v="1144"/>
        <pc:sldMkLst>
          <pc:docMk/>
          <pc:sldMk cId="610370889" sldId="327"/>
        </pc:sldMkLst>
      </pc:sldChg>
      <pc:sldChg chg="add del">
        <pc:chgData name="James Tooles" userId="831746c4-f1a4-4e78-99f9-c748f9babc85" providerId="ADAL" clId="{774FC1C6-A3A8-4E11-B657-77103C9FDF5D}" dt="2025-04-08T21:40:39.898" v="1144"/>
        <pc:sldMkLst>
          <pc:docMk/>
          <pc:sldMk cId="1588371512" sldId="337"/>
        </pc:sldMkLst>
      </pc:sldChg>
      <pc:sldChg chg="add del">
        <pc:chgData name="James Tooles" userId="831746c4-f1a4-4e78-99f9-c748f9babc85" providerId="ADAL" clId="{774FC1C6-A3A8-4E11-B657-77103C9FDF5D}" dt="2025-04-08T21:40:39.898" v="1144"/>
        <pc:sldMkLst>
          <pc:docMk/>
          <pc:sldMk cId="3543528068" sldId="2147482128"/>
        </pc:sldMkLst>
      </pc:sldChg>
      <pc:sldChg chg="delSp modSp mod">
        <pc:chgData name="James Tooles" userId="831746c4-f1a4-4e78-99f9-c748f9babc85" providerId="ADAL" clId="{774FC1C6-A3A8-4E11-B657-77103C9FDF5D}" dt="2025-04-10T14:45:59.782" v="1161" actId="207"/>
        <pc:sldMkLst>
          <pc:docMk/>
          <pc:sldMk cId="1372010162" sldId="2147482391"/>
        </pc:sldMkLst>
        <pc:spChg chg="mod">
          <ac:chgData name="James Tooles" userId="831746c4-f1a4-4e78-99f9-c748f9babc85" providerId="ADAL" clId="{774FC1C6-A3A8-4E11-B657-77103C9FDF5D}" dt="2025-04-10T14:45:59.782" v="1161" actId="207"/>
          <ac:spMkLst>
            <pc:docMk/>
            <pc:sldMk cId="1372010162" sldId="2147482391"/>
            <ac:spMk id="3" creationId="{FD22759B-B84D-7AF6-EA07-D4F6072A73FD}"/>
          </ac:spMkLst>
        </pc:spChg>
        <pc:spChg chg="del">
          <ac:chgData name="James Tooles" userId="831746c4-f1a4-4e78-99f9-c748f9babc85" providerId="ADAL" clId="{774FC1C6-A3A8-4E11-B657-77103C9FDF5D}" dt="2025-04-10T14:45:07.494" v="1159" actId="478"/>
          <ac:spMkLst>
            <pc:docMk/>
            <pc:sldMk cId="1372010162" sldId="2147482391"/>
            <ac:spMk id="7" creationId="{078E5214-8FE3-B973-8C12-E4A7BCE49629}"/>
          </ac:spMkLst>
        </pc:spChg>
      </pc:sldChg>
      <pc:sldChg chg="add del">
        <pc:chgData name="James Tooles" userId="831746c4-f1a4-4e78-99f9-c748f9babc85" providerId="ADAL" clId="{774FC1C6-A3A8-4E11-B657-77103C9FDF5D}" dt="2025-04-08T21:40:39.898" v="1144"/>
        <pc:sldMkLst>
          <pc:docMk/>
          <pc:sldMk cId="2568363998" sldId="2147482395"/>
        </pc:sldMkLst>
      </pc:sldChg>
      <pc:sldChg chg="addSp delSp modSp mod ord modAnim">
        <pc:chgData name="James Tooles" userId="831746c4-f1a4-4e78-99f9-c748f9babc85" providerId="ADAL" clId="{774FC1C6-A3A8-4E11-B657-77103C9FDF5D}" dt="2025-03-31T05:47:42.983" v="1142" actId="692"/>
        <pc:sldMkLst>
          <pc:docMk/>
          <pc:sldMk cId="1345270399" sldId="2147482396"/>
        </pc:sldMkLst>
        <pc:spChg chg="add mod">
          <ac:chgData name="James Tooles" userId="831746c4-f1a4-4e78-99f9-c748f9babc85" providerId="ADAL" clId="{774FC1C6-A3A8-4E11-B657-77103C9FDF5D}" dt="2025-03-31T04:40:25.633" v="555" actId="1038"/>
          <ac:spMkLst>
            <pc:docMk/>
            <pc:sldMk cId="1345270399" sldId="2147482396"/>
            <ac:spMk id="11" creationId="{AF440D77-1F36-1DE0-6B5B-D1935394FB04}"/>
          </ac:spMkLst>
        </pc:spChg>
        <pc:spChg chg="add mod">
          <ac:chgData name="James Tooles" userId="831746c4-f1a4-4e78-99f9-c748f9babc85" providerId="ADAL" clId="{774FC1C6-A3A8-4E11-B657-77103C9FDF5D}" dt="2025-03-31T04:33:04.491" v="170" actId="1038"/>
          <ac:spMkLst>
            <pc:docMk/>
            <pc:sldMk cId="1345270399" sldId="2147482396"/>
            <ac:spMk id="13" creationId="{F34F61C8-B280-C060-7232-43543655D935}"/>
          </ac:spMkLst>
        </pc:spChg>
        <pc:spChg chg="add mod">
          <ac:chgData name="James Tooles" userId="831746c4-f1a4-4e78-99f9-c748f9babc85" providerId="ADAL" clId="{774FC1C6-A3A8-4E11-B657-77103C9FDF5D}" dt="2025-03-31T04:33:04.491" v="170" actId="1038"/>
          <ac:spMkLst>
            <pc:docMk/>
            <pc:sldMk cId="1345270399" sldId="2147482396"/>
            <ac:spMk id="28" creationId="{35485352-CE25-D6FC-90E7-B6966B25C365}"/>
          </ac:spMkLst>
        </pc:spChg>
        <pc:spChg chg="add mod">
          <ac:chgData name="James Tooles" userId="831746c4-f1a4-4e78-99f9-c748f9babc85" providerId="ADAL" clId="{774FC1C6-A3A8-4E11-B657-77103C9FDF5D}" dt="2025-03-31T04:33:04.491" v="170" actId="1038"/>
          <ac:spMkLst>
            <pc:docMk/>
            <pc:sldMk cId="1345270399" sldId="2147482396"/>
            <ac:spMk id="32" creationId="{46461FBB-4697-F534-85D2-E3BD151EA333}"/>
          </ac:spMkLst>
        </pc:spChg>
        <pc:spChg chg="add mod">
          <ac:chgData name="James Tooles" userId="831746c4-f1a4-4e78-99f9-c748f9babc85" providerId="ADAL" clId="{774FC1C6-A3A8-4E11-B657-77103C9FDF5D}" dt="2025-03-31T04:33:04.491" v="170" actId="1038"/>
          <ac:spMkLst>
            <pc:docMk/>
            <pc:sldMk cId="1345270399" sldId="2147482396"/>
            <ac:spMk id="33" creationId="{4E7D933E-882B-05A6-19B7-6FB46B3417F4}"/>
          </ac:spMkLst>
        </pc:spChg>
        <pc:spChg chg="add mod">
          <ac:chgData name="James Tooles" userId="831746c4-f1a4-4e78-99f9-c748f9babc85" providerId="ADAL" clId="{774FC1C6-A3A8-4E11-B657-77103C9FDF5D}" dt="2025-03-31T04:35:28.433" v="202" actId="1037"/>
          <ac:spMkLst>
            <pc:docMk/>
            <pc:sldMk cId="1345270399" sldId="2147482396"/>
            <ac:spMk id="34" creationId="{23F2AD9E-540A-09DA-9E7A-FC92C4FAAB4B}"/>
          </ac:spMkLst>
        </pc:spChg>
        <pc:spChg chg="add mod">
          <ac:chgData name="James Tooles" userId="831746c4-f1a4-4e78-99f9-c748f9babc85" providerId="ADAL" clId="{774FC1C6-A3A8-4E11-B657-77103C9FDF5D}" dt="2025-03-31T04:37:34.459" v="254" actId="313"/>
          <ac:spMkLst>
            <pc:docMk/>
            <pc:sldMk cId="1345270399" sldId="2147482396"/>
            <ac:spMk id="47" creationId="{986500B3-FC4F-BC2E-CF04-608B4EBA9F3A}"/>
          </ac:spMkLst>
        </pc:spChg>
        <pc:spChg chg="add mod">
          <ac:chgData name="James Tooles" userId="831746c4-f1a4-4e78-99f9-c748f9babc85" providerId="ADAL" clId="{774FC1C6-A3A8-4E11-B657-77103C9FDF5D}" dt="2025-03-31T04:37:36.926" v="255" actId="313"/>
          <ac:spMkLst>
            <pc:docMk/>
            <pc:sldMk cId="1345270399" sldId="2147482396"/>
            <ac:spMk id="48" creationId="{90589513-702E-C9A6-88CD-E98899D1AFB7}"/>
          </ac:spMkLst>
        </pc:spChg>
        <pc:spChg chg="add mod">
          <ac:chgData name="James Tooles" userId="831746c4-f1a4-4e78-99f9-c748f9babc85" providerId="ADAL" clId="{774FC1C6-A3A8-4E11-B657-77103C9FDF5D}" dt="2025-03-31T05:47:12.787" v="1132" actId="1036"/>
          <ac:spMkLst>
            <pc:docMk/>
            <pc:sldMk cId="1345270399" sldId="2147482396"/>
            <ac:spMk id="51" creationId="{9BCF6BB4-AE37-AF9A-D868-37EB9B217E18}"/>
          </ac:spMkLst>
        </pc:spChg>
        <pc:spChg chg="add mod ord">
          <ac:chgData name="James Tooles" userId="831746c4-f1a4-4e78-99f9-c748f9babc85" providerId="ADAL" clId="{774FC1C6-A3A8-4E11-B657-77103C9FDF5D}" dt="2025-03-31T04:40:46.818" v="557" actId="167"/>
          <ac:spMkLst>
            <pc:docMk/>
            <pc:sldMk cId="1345270399" sldId="2147482396"/>
            <ac:spMk id="55" creationId="{CDECF837-EF79-FF30-ECB4-528570ACBEFE}"/>
          </ac:spMkLst>
        </pc:spChg>
        <pc:spChg chg="add mod">
          <ac:chgData name="James Tooles" userId="831746c4-f1a4-4e78-99f9-c748f9babc85" providerId="ADAL" clId="{774FC1C6-A3A8-4E11-B657-77103C9FDF5D}" dt="2025-03-31T04:41:13.241" v="588" actId="20577"/>
          <ac:spMkLst>
            <pc:docMk/>
            <pc:sldMk cId="1345270399" sldId="2147482396"/>
            <ac:spMk id="56" creationId="{6CBD8A5C-86C1-BE7A-D95A-1901B7BAA80A}"/>
          </ac:spMkLst>
        </pc:spChg>
        <pc:spChg chg="add mod">
          <ac:chgData name="James Tooles" userId="831746c4-f1a4-4e78-99f9-c748f9babc85" providerId="ADAL" clId="{774FC1C6-A3A8-4E11-B657-77103C9FDF5D}" dt="2025-03-31T05:47:35.761" v="1140" actId="20577"/>
          <ac:spMkLst>
            <pc:docMk/>
            <pc:sldMk cId="1345270399" sldId="2147482396"/>
            <ac:spMk id="1024" creationId="{4EFD1C12-17B2-DC15-A21D-0BFF0C0E3AF2}"/>
          </ac:spMkLst>
        </pc:spChg>
        <pc:picChg chg="add mod">
          <ac:chgData name="James Tooles" userId="831746c4-f1a4-4e78-99f9-c748f9babc85" providerId="ADAL" clId="{774FC1C6-A3A8-4E11-B657-77103C9FDF5D}" dt="2025-03-31T04:40:25.633" v="555" actId="1038"/>
          <ac:picMkLst>
            <pc:docMk/>
            <pc:sldMk cId="1345270399" sldId="2147482396"/>
            <ac:picMk id="9" creationId="{7FC83D15-BB73-3672-F854-4D1AF2AD6F71}"/>
          </ac:picMkLst>
        </pc:picChg>
        <pc:picChg chg="add mod">
          <ac:chgData name="James Tooles" userId="831746c4-f1a4-4e78-99f9-c748f9babc85" providerId="ADAL" clId="{774FC1C6-A3A8-4E11-B657-77103C9FDF5D}" dt="2025-03-31T04:33:04.491" v="170" actId="1038"/>
          <ac:picMkLst>
            <pc:docMk/>
            <pc:sldMk cId="1345270399" sldId="2147482396"/>
            <ac:picMk id="12" creationId="{7CF8D132-E804-211C-2A6F-16FDE3506E37}"/>
          </ac:picMkLst>
        </pc:picChg>
        <pc:picChg chg="add mod">
          <ac:chgData name="James Tooles" userId="831746c4-f1a4-4e78-99f9-c748f9babc85" providerId="ADAL" clId="{774FC1C6-A3A8-4E11-B657-77103C9FDF5D}" dt="2025-03-31T04:33:04.491" v="170" actId="1038"/>
          <ac:picMkLst>
            <pc:docMk/>
            <pc:sldMk cId="1345270399" sldId="2147482396"/>
            <ac:picMk id="17" creationId="{17A1BC97-D4AD-AFEE-1164-26EBE0159522}"/>
          </ac:picMkLst>
        </pc:picChg>
        <pc:picChg chg="add mod">
          <ac:chgData name="James Tooles" userId="831746c4-f1a4-4e78-99f9-c748f9babc85" providerId="ADAL" clId="{774FC1C6-A3A8-4E11-B657-77103C9FDF5D}" dt="2025-03-31T04:33:04.491" v="170" actId="1038"/>
          <ac:picMkLst>
            <pc:docMk/>
            <pc:sldMk cId="1345270399" sldId="2147482396"/>
            <ac:picMk id="27" creationId="{A5CCA04F-C739-F66F-8FF8-D92FF4CD289E}"/>
          </ac:picMkLst>
        </pc:picChg>
        <pc:picChg chg="add mod">
          <ac:chgData name="James Tooles" userId="831746c4-f1a4-4e78-99f9-c748f9babc85" providerId="ADAL" clId="{774FC1C6-A3A8-4E11-B657-77103C9FDF5D}" dt="2025-03-31T04:37:01.092" v="212" actId="1076"/>
          <ac:picMkLst>
            <pc:docMk/>
            <pc:sldMk cId="1345270399" sldId="2147482396"/>
            <ac:picMk id="44" creationId="{9FC6D54C-FA31-2DCC-73B3-01BD0FD09158}"/>
          </ac:picMkLst>
        </pc:picChg>
        <pc:picChg chg="add mod">
          <ac:chgData name="James Tooles" userId="831746c4-f1a4-4e78-99f9-c748f9babc85" providerId="ADAL" clId="{774FC1C6-A3A8-4E11-B657-77103C9FDF5D}" dt="2025-03-31T05:47:12.787" v="1132" actId="1036"/>
          <ac:picMkLst>
            <pc:docMk/>
            <pc:sldMk cId="1345270399" sldId="2147482396"/>
            <ac:picMk id="57" creationId="{6386AF56-07A2-BD99-3830-BE0B2B6BC7E2}"/>
          </ac:picMkLst>
        </pc:picChg>
        <pc:picChg chg="add mod">
          <ac:chgData name="James Tooles" userId="831746c4-f1a4-4e78-99f9-c748f9babc85" providerId="ADAL" clId="{774FC1C6-A3A8-4E11-B657-77103C9FDF5D}" dt="2025-03-31T04:33:04.491" v="170" actId="1038"/>
          <ac:picMkLst>
            <pc:docMk/>
            <pc:sldMk cId="1345270399" sldId="2147482396"/>
            <ac:picMk id="1026" creationId="{4E6BC502-2563-BC17-341F-5B6DBCEAEA26}"/>
          </ac:picMkLst>
        </pc:picChg>
        <pc:picChg chg="add mod">
          <ac:chgData name="James Tooles" userId="831746c4-f1a4-4e78-99f9-c748f9babc85" providerId="ADAL" clId="{774FC1C6-A3A8-4E11-B657-77103C9FDF5D}" dt="2025-03-31T04:35:28.433" v="202" actId="1037"/>
          <ac:picMkLst>
            <pc:docMk/>
            <pc:sldMk cId="1345270399" sldId="2147482396"/>
            <ac:picMk id="1028" creationId="{5A6AD57D-C0BE-0CE6-D4B8-C58ABCAFF0D3}"/>
          </ac:picMkLst>
        </pc:picChg>
        <pc:picChg chg="add mod">
          <ac:chgData name="James Tooles" userId="831746c4-f1a4-4e78-99f9-c748f9babc85" providerId="ADAL" clId="{774FC1C6-A3A8-4E11-B657-77103C9FDF5D}" dt="2025-03-31T04:36:41.265" v="206" actId="1076"/>
          <ac:picMkLst>
            <pc:docMk/>
            <pc:sldMk cId="1345270399" sldId="2147482396"/>
            <ac:picMk id="1030" creationId="{076BE5F0-4A0E-FA26-7EEF-5859A3E1A15D}"/>
          </ac:picMkLst>
        </pc:picChg>
        <pc:picChg chg="add mod">
          <ac:chgData name="James Tooles" userId="831746c4-f1a4-4e78-99f9-c748f9babc85" providerId="ADAL" clId="{774FC1C6-A3A8-4E11-B657-77103C9FDF5D}" dt="2025-03-31T05:46:40.519" v="1117" actId="1076"/>
          <ac:picMkLst>
            <pc:docMk/>
            <pc:sldMk cId="1345270399" sldId="2147482396"/>
            <ac:picMk id="1034" creationId="{A4E34E35-2D78-CDF1-5A2F-285242F1C42C}"/>
          </ac:picMkLst>
        </pc:picChg>
        <pc:cxnChg chg="add mod">
          <ac:chgData name="James Tooles" userId="831746c4-f1a4-4e78-99f9-c748f9babc85" providerId="ADAL" clId="{774FC1C6-A3A8-4E11-B657-77103C9FDF5D}" dt="2025-03-31T04:30:32.956" v="84" actId="14100"/>
          <ac:cxnSpMkLst>
            <pc:docMk/>
            <pc:sldMk cId="1345270399" sldId="2147482396"/>
            <ac:cxnSpMk id="19" creationId="{4B2D22D0-FCA4-8D82-C945-BBD430B7501F}"/>
          </ac:cxnSpMkLst>
        </pc:cxnChg>
        <pc:cxnChg chg="add mod">
          <ac:chgData name="James Tooles" userId="831746c4-f1a4-4e78-99f9-c748f9babc85" providerId="ADAL" clId="{774FC1C6-A3A8-4E11-B657-77103C9FDF5D}" dt="2025-03-31T04:36:41.265" v="206" actId="1076"/>
          <ac:cxnSpMkLst>
            <pc:docMk/>
            <pc:sldMk cId="1345270399" sldId="2147482396"/>
            <ac:cxnSpMk id="23" creationId="{207B16BE-0B54-2F81-7EBD-96CFC773089C}"/>
          </ac:cxnSpMkLst>
        </pc:cxnChg>
        <pc:cxnChg chg="add mod">
          <ac:chgData name="James Tooles" userId="831746c4-f1a4-4e78-99f9-c748f9babc85" providerId="ADAL" clId="{774FC1C6-A3A8-4E11-B657-77103C9FDF5D}" dt="2025-03-31T04:33:04.491" v="170" actId="1038"/>
          <ac:cxnSpMkLst>
            <pc:docMk/>
            <pc:sldMk cId="1345270399" sldId="2147482396"/>
            <ac:cxnSpMk id="29" creationId="{1A622717-7E4F-86E0-C5B2-1832FC63CD52}"/>
          </ac:cxnSpMkLst>
        </pc:cxnChg>
        <pc:cxnChg chg="add mod">
          <ac:chgData name="James Tooles" userId="831746c4-f1a4-4e78-99f9-c748f9babc85" providerId="ADAL" clId="{774FC1C6-A3A8-4E11-B657-77103C9FDF5D}" dt="2025-03-31T04:35:28.433" v="202" actId="1037"/>
          <ac:cxnSpMkLst>
            <pc:docMk/>
            <pc:sldMk cId="1345270399" sldId="2147482396"/>
            <ac:cxnSpMk id="35" creationId="{BA32459A-6259-004C-06B1-69CD88DF4E5A}"/>
          </ac:cxnSpMkLst>
        </pc:cxnChg>
        <pc:cxnChg chg="add mod">
          <ac:chgData name="James Tooles" userId="831746c4-f1a4-4e78-99f9-c748f9babc85" providerId="ADAL" clId="{774FC1C6-A3A8-4E11-B657-77103C9FDF5D}" dt="2025-03-31T04:36:48.592" v="209" actId="14100"/>
          <ac:cxnSpMkLst>
            <pc:docMk/>
            <pc:sldMk cId="1345270399" sldId="2147482396"/>
            <ac:cxnSpMk id="40" creationId="{5A599781-835B-0BF5-38CC-DD28A554B1E4}"/>
          </ac:cxnSpMkLst>
        </pc:cxnChg>
        <pc:cxnChg chg="add mod">
          <ac:chgData name="James Tooles" userId="831746c4-f1a4-4e78-99f9-c748f9babc85" providerId="ADAL" clId="{774FC1C6-A3A8-4E11-B657-77103C9FDF5D}" dt="2025-03-31T04:37:06.570" v="214" actId="14100"/>
          <ac:cxnSpMkLst>
            <pc:docMk/>
            <pc:sldMk cId="1345270399" sldId="2147482396"/>
            <ac:cxnSpMk id="43" creationId="{FB057620-22F8-892A-3986-092498D876F7}"/>
          </ac:cxnSpMkLst>
        </pc:cxnChg>
        <pc:cxnChg chg="add mod">
          <ac:chgData name="James Tooles" userId="831746c4-f1a4-4e78-99f9-c748f9babc85" providerId="ADAL" clId="{774FC1C6-A3A8-4E11-B657-77103C9FDF5D}" dt="2025-03-31T05:46:43.873" v="1118" actId="14100"/>
          <ac:cxnSpMkLst>
            <pc:docMk/>
            <pc:sldMk cId="1345270399" sldId="2147482396"/>
            <ac:cxnSpMk id="52" creationId="{54ED1C05-89D2-BFA9-55FB-6995C089B773}"/>
          </ac:cxnSpMkLst>
        </pc:cxnChg>
        <pc:cxnChg chg="add mod">
          <ac:chgData name="James Tooles" userId="831746c4-f1a4-4e78-99f9-c748f9babc85" providerId="ADAL" clId="{774FC1C6-A3A8-4E11-B657-77103C9FDF5D}" dt="2025-03-31T05:47:42.983" v="1142" actId="692"/>
          <ac:cxnSpMkLst>
            <pc:docMk/>
            <pc:sldMk cId="1345270399" sldId="2147482396"/>
            <ac:cxnSpMk id="59" creationId="{FEFA6981-2FF7-E39D-5874-A3C4E98E09DC}"/>
          </ac:cxnSpMkLst>
        </pc:cxnChg>
      </pc:sldChg>
      <pc:sldChg chg="add del">
        <pc:chgData name="James Tooles" userId="831746c4-f1a4-4e78-99f9-c748f9babc85" providerId="ADAL" clId="{774FC1C6-A3A8-4E11-B657-77103C9FDF5D}" dt="2025-04-08T21:40:39.898" v="1144"/>
        <pc:sldMkLst>
          <pc:docMk/>
          <pc:sldMk cId="3023406239" sldId="2147482397"/>
        </pc:sldMkLst>
      </pc:sldChg>
      <pc:sldChg chg="addSp delSp modSp mod">
        <pc:chgData name="James Tooles" userId="831746c4-f1a4-4e78-99f9-c748f9babc85" providerId="ADAL" clId="{774FC1C6-A3A8-4E11-B657-77103C9FDF5D}" dt="2025-04-10T13:33:41.185" v="1156" actId="207"/>
        <pc:sldMkLst>
          <pc:docMk/>
          <pc:sldMk cId="4127103404" sldId="2147482542"/>
        </pc:sldMkLst>
        <pc:spChg chg="del">
          <ac:chgData name="James Tooles" userId="831746c4-f1a4-4e78-99f9-c748f9babc85" providerId="ADAL" clId="{774FC1C6-A3A8-4E11-B657-77103C9FDF5D}" dt="2025-04-10T05:26:54.652" v="1151" actId="478"/>
          <ac:spMkLst>
            <pc:docMk/>
            <pc:sldMk cId="4127103404" sldId="2147482542"/>
            <ac:spMk id="2" creationId="{1A95F8CD-17A5-F325-37ED-F1CA1EEE4440}"/>
          </ac:spMkLst>
        </pc:spChg>
        <pc:spChg chg="del">
          <ac:chgData name="James Tooles" userId="831746c4-f1a4-4e78-99f9-c748f9babc85" providerId="ADAL" clId="{774FC1C6-A3A8-4E11-B657-77103C9FDF5D}" dt="2025-04-10T05:27:26.634" v="1152" actId="478"/>
          <ac:spMkLst>
            <pc:docMk/>
            <pc:sldMk cId="4127103404" sldId="2147482542"/>
            <ac:spMk id="9" creationId="{B0792750-83FF-1D04-32D6-15F9339567EE}"/>
          </ac:spMkLst>
        </pc:spChg>
        <pc:spChg chg="mod">
          <ac:chgData name="James Tooles" userId="831746c4-f1a4-4e78-99f9-c748f9babc85" providerId="ADAL" clId="{774FC1C6-A3A8-4E11-B657-77103C9FDF5D}" dt="2025-04-10T13:33:41.185" v="1156" actId="207"/>
          <ac:spMkLst>
            <pc:docMk/>
            <pc:sldMk cId="4127103404" sldId="2147482542"/>
            <ac:spMk id="11" creationId="{1DEAC2D7-5C50-2E3F-777B-572040382388}"/>
          </ac:spMkLst>
        </pc:spChg>
        <pc:picChg chg="del">
          <ac:chgData name="James Tooles" userId="831746c4-f1a4-4e78-99f9-c748f9babc85" providerId="ADAL" clId="{774FC1C6-A3A8-4E11-B657-77103C9FDF5D}" dt="2025-04-10T05:26:40.485" v="1145" actId="478"/>
          <ac:picMkLst>
            <pc:docMk/>
            <pc:sldMk cId="4127103404" sldId="2147482542"/>
            <ac:picMk id="5" creationId="{6251AF16-EED1-D742-26C8-4BF36BE45020}"/>
          </ac:picMkLst>
        </pc:picChg>
        <pc:picChg chg="add mod">
          <ac:chgData name="James Tooles" userId="831746c4-f1a4-4e78-99f9-c748f9babc85" providerId="ADAL" clId="{774FC1C6-A3A8-4E11-B657-77103C9FDF5D}" dt="2025-04-10T05:26:53.165" v="1150" actId="1076"/>
          <ac:picMkLst>
            <pc:docMk/>
            <pc:sldMk cId="4127103404" sldId="2147482542"/>
            <ac:picMk id="16" creationId="{4EC730E6-1AED-9C5C-4F1C-1693A47F7DAF}"/>
          </ac:picMkLst>
        </pc:picChg>
      </pc:sldChg>
      <pc:sldChg chg="add del">
        <pc:chgData name="James Tooles" userId="831746c4-f1a4-4e78-99f9-c748f9babc85" providerId="ADAL" clId="{774FC1C6-A3A8-4E11-B657-77103C9FDF5D}" dt="2025-04-08T21:40:39.898" v="1144"/>
        <pc:sldMkLst>
          <pc:docMk/>
          <pc:sldMk cId="821487032" sldId="2147483607"/>
        </pc:sldMkLst>
      </pc:sldChg>
      <pc:sldChg chg="del ord">
        <pc:chgData name="James Tooles" userId="831746c4-f1a4-4e78-99f9-c748f9babc85" providerId="ADAL" clId="{774FC1C6-A3A8-4E11-B657-77103C9FDF5D}" dt="2025-04-10T05:27:47.861" v="1153" actId="47"/>
        <pc:sldMkLst>
          <pc:docMk/>
          <pc:sldMk cId="3837788878" sldId="2147483609"/>
        </pc:sldMkLst>
      </pc:sldChg>
      <pc:sldChg chg="addSp delSp modSp mod">
        <pc:chgData name="James Tooles" userId="831746c4-f1a4-4e78-99f9-c748f9babc85" providerId="ADAL" clId="{774FC1C6-A3A8-4E11-B657-77103C9FDF5D}" dt="2025-04-10T16:49:46.418" v="2043" actId="1038"/>
        <pc:sldMkLst>
          <pc:docMk/>
          <pc:sldMk cId="932316183" sldId="2147483610"/>
        </pc:sldMkLst>
        <pc:spChg chg="mod">
          <ac:chgData name="James Tooles" userId="831746c4-f1a4-4e78-99f9-c748f9babc85" providerId="ADAL" clId="{774FC1C6-A3A8-4E11-B657-77103C9FDF5D}" dt="2025-04-10T16:41:58.223" v="1920" actId="20577"/>
          <ac:spMkLst>
            <pc:docMk/>
            <pc:sldMk cId="932316183" sldId="2147483610"/>
            <ac:spMk id="3" creationId="{9EA5FCA8-C11E-6F3E-BDDA-E659826B5233}"/>
          </ac:spMkLst>
        </pc:spChg>
        <pc:spChg chg="mod">
          <ac:chgData name="James Tooles" userId="831746c4-f1a4-4e78-99f9-c748f9babc85" providerId="ADAL" clId="{774FC1C6-A3A8-4E11-B657-77103C9FDF5D}" dt="2025-04-10T16:36:35.099" v="1533" actId="20577"/>
          <ac:spMkLst>
            <pc:docMk/>
            <pc:sldMk cId="932316183" sldId="2147483610"/>
            <ac:spMk id="8" creationId="{75BD3D6B-EB5B-05D2-8AB3-B83130E20264}"/>
          </ac:spMkLst>
        </pc:spChg>
        <pc:spChg chg="mod">
          <ac:chgData name="James Tooles" userId="831746c4-f1a4-4e78-99f9-c748f9babc85" providerId="ADAL" clId="{774FC1C6-A3A8-4E11-B657-77103C9FDF5D}" dt="2025-04-10T16:33:25.015" v="1387" actId="1037"/>
          <ac:spMkLst>
            <pc:docMk/>
            <pc:sldMk cId="932316183" sldId="2147483610"/>
            <ac:spMk id="14" creationId="{CDD5D79D-E460-FCDA-C753-4152F1EF966A}"/>
          </ac:spMkLst>
        </pc:spChg>
        <pc:spChg chg="mod">
          <ac:chgData name="James Tooles" userId="831746c4-f1a4-4e78-99f9-c748f9babc85" providerId="ADAL" clId="{774FC1C6-A3A8-4E11-B657-77103C9FDF5D}" dt="2025-04-10T16:33:25.015" v="1387" actId="1037"/>
          <ac:spMkLst>
            <pc:docMk/>
            <pc:sldMk cId="932316183" sldId="2147483610"/>
            <ac:spMk id="17" creationId="{40CE1055-0914-8E49-A1A6-3890FE6621B9}"/>
          </ac:spMkLst>
        </pc:spChg>
        <pc:spChg chg="add mod">
          <ac:chgData name="James Tooles" userId="831746c4-f1a4-4e78-99f9-c748f9babc85" providerId="ADAL" clId="{774FC1C6-A3A8-4E11-B657-77103C9FDF5D}" dt="2025-04-10T16:35:38.012" v="1439" actId="20577"/>
          <ac:spMkLst>
            <pc:docMk/>
            <pc:sldMk cId="932316183" sldId="2147483610"/>
            <ac:spMk id="19" creationId="{14AE83B6-EAEE-E18F-4CD1-9C373A25DF95}"/>
          </ac:spMkLst>
        </pc:spChg>
        <pc:spChg chg="add del mod">
          <ac:chgData name="James Tooles" userId="831746c4-f1a4-4e78-99f9-c748f9babc85" providerId="ADAL" clId="{774FC1C6-A3A8-4E11-B657-77103C9FDF5D}" dt="2025-04-10T16:41:05.315" v="1678" actId="21"/>
          <ac:spMkLst>
            <pc:docMk/>
            <pc:sldMk cId="932316183" sldId="2147483610"/>
            <ac:spMk id="21" creationId="{9103C893-5785-3C4B-0AD8-F98F0648376D}"/>
          </ac:spMkLst>
        </pc:spChg>
        <pc:spChg chg="mod">
          <ac:chgData name="James Tooles" userId="831746c4-f1a4-4e78-99f9-c748f9babc85" providerId="ADAL" clId="{774FC1C6-A3A8-4E11-B657-77103C9FDF5D}" dt="2025-04-10T16:41:14.938" v="1789" actId="1038"/>
          <ac:spMkLst>
            <pc:docMk/>
            <pc:sldMk cId="932316183" sldId="2147483610"/>
            <ac:spMk id="24" creationId="{66956815-D04A-5624-C9FC-BACB2054D7FE}"/>
          </ac:spMkLst>
        </pc:spChg>
        <pc:spChg chg="del">
          <ac:chgData name="James Tooles" userId="831746c4-f1a4-4e78-99f9-c748f9babc85" providerId="ADAL" clId="{774FC1C6-A3A8-4E11-B657-77103C9FDF5D}" dt="2025-04-10T16:32:42.699" v="1229" actId="478"/>
          <ac:spMkLst>
            <pc:docMk/>
            <pc:sldMk cId="932316183" sldId="2147483610"/>
            <ac:spMk id="26" creationId="{7DF3AC4F-8C7E-F331-573F-68E093C56FCC}"/>
          </ac:spMkLst>
        </pc:spChg>
        <pc:spChg chg="del">
          <ac:chgData name="James Tooles" userId="831746c4-f1a4-4e78-99f9-c748f9babc85" providerId="ADAL" clId="{774FC1C6-A3A8-4E11-B657-77103C9FDF5D}" dt="2025-04-10T16:32:42.699" v="1229" actId="478"/>
          <ac:spMkLst>
            <pc:docMk/>
            <pc:sldMk cId="932316183" sldId="2147483610"/>
            <ac:spMk id="27" creationId="{F5511A6B-35F0-1349-104D-A7CC9AF8DF08}"/>
          </ac:spMkLst>
        </pc:spChg>
        <pc:spChg chg="mod">
          <ac:chgData name="James Tooles" userId="831746c4-f1a4-4e78-99f9-c748f9babc85" providerId="ADAL" clId="{774FC1C6-A3A8-4E11-B657-77103C9FDF5D}" dt="2025-04-10T16:36:44.009" v="1540" actId="20577"/>
          <ac:spMkLst>
            <pc:docMk/>
            <pc:sldMk cId="932316183" sldId="2147483610"/>
            <ac:spMk id="28" creationId="{80130EC3-F79C-B117-BD96-81C47A804222}"/>
          </ac:spMkLst>
        </pc:spChg>
        <pc:spChg chg="mod">
          <ac:chgData name="James Tooles" userId="831746c4-f1a4-4e78-99f9-c748f9babc85" providerId="ADAL" clId="{774FC1C6-A3A8-4E11-B657-77103C9FDF5D}" dt="2025-04-10T16:40:52.341" v="1677" actId="1037"/>
          <ac:spMkLst>
            <pc:docMk/>
            <pc:sldMk cId="932316183" sldId="2147483610"/>
            <ac:spMk id="31" creationId="{B778C579-1F67-FBC9-F5A7-88579517F9A7}"/>
          </ac:spMkLst>
        </pc:spChg>
        <pc:spChg chg="add mod">
          <ac:chgData name="James Tooles" userId="831746c4-f1a4-4e78-99f9-c748f9babc85" providerId="ADAL" clId="{774FC1C6-A3A8-4E11-B657-77103C9FDF5D}" dt="2025-04-10T16:41:25.184" v="1898" actId="1037"/>
          <ac:spMkLst>
            <pc:docMk/>
            <pc:sldMk cId="932316183" sldId="2147483610"/>
            <ac:spMk id="35" creationId="{9103C893-5785-3C4B-0AD8-F98F0648376D}"/>
          </ac:spMkLst>
        </pc:spChg>
        <pc:spChg chg="mod">
          <ac:chgData name="James Tooles" userId="831746c4-f1a4-4e78-99f9-c748f9babc85" providerId="ADAL" clId="{774FC1C6-A3A8-4E11-B657-77103C9FDF5D}" dt="2025-04-10T16:49:46.418" v="2043" actId="1038"/>
          <ac:spMkLst>
            <pc:docMk/>
            <pc:sldMk cId="932316183" sldId="2147483610"/>
            <ac:spMk id="42" creationId="{15960895-BCF4-21BC-B871-8FF712DD051F}"/>
          </ac:spMkLst>
        </pc:spChg>
        <pc:spChg chg="mod">
          <ac:chgData name="James Tooles" userId="831746c4-f1a4-4e78-99f9-c748f9babc85" providerId="ADAL" clId="{774FC1C6-A3A8-4E11-B657-77103C9FDF5D}" dt="2025-04-10T16:49:46.418" v="2043" actId="1038"/>
          <ac:spMkLst>
            <pc:docMk/>
            <pc:sldMk cId="932316183" sldId="2147483610"/>
            <ac:spMk id="44" creationId="{065A4954-B586-D4A4-63AF-96905C0D983A}"/>
          </ac:spMkLst>
        </pc:spChg>
        <pc:spChg chg="mod">
          <ac:chgData name="James Tooles" userId="831746c4-f1a4-4e78-99f9-c748f9babc85" providerId="ADAL" clId="{774FC1C6-A3A8-4E11-B657-77103C9FDF5D}" dt="2025-04-10T16:49:46.418" v="2043" actId="1038"/>
          <ac:spMkLst>
            <pc:docMk/>
            <pc:sldMk cId="932316183" sldId="2147483610"/>
            <ac:spMk id="46" creationId="{B4B419BB-DF10-A2AF-E260-AE57DC3B02C1}"/>
          </ac:spMkLst>
        </pc:spChg>
        <pc:spChg chg="mod">
          <ac:chgData name="James Tooles" userId="831746c4-f1a4-4e78-99f9-c748f9babc85" providerId="ADAL" clId="{774FC1C6-A3A8-4E11-B657-77103C9FDF5D}" dt="2025-04-10T16:49:46.418" v="2043" actId="1038"/>
          <ac:spMkLst>
            <pc:docMk/>
            <pc:sldMk cId="932316183" sldId="2147483610"/>
            <ac:spMk id="48" creationId="{F0D2ABA2-955E-940E-BFF0-29B8AE5647AE}"/>
          </ac:spMkLst>
        </pc:spChg>
        <pc:spChg chg="mod">
          <ac:chgData name="James Tooles" userId="831746c4-f1a4-4e78-99f9-c748f9babc85" providerId="ADAL" clId="{774FC1C6-A3A8-4E11-B657-77103C9FDF5D}" dt="2025-04-10T16:49:46.418" v="2043" actId="1038"/>
          <ac:spMkLst>
            <pc:docMk/>
            <pc:sldMk cId="932316183" sldId="2147483610"/>
            <ac:spMk id="52" creationId="{D91040E7-717D-7335-3079-E36D34A80E57}"/>
          </ac:spMkLst>
        </pc:spChg>
        <pc:spChg chg="mod">
          <ac:chgData name="James Tooles" userId="831746c4-f1a4-4e78-99f9-c748f9babc85" providerId="ADAL" clId="{774FC1C6-A3A8-4E11-B657-77103C9FDF5D}" dt="2025-04-10T16:42:22.599" v="1954" actId="20577"/>
          <ac:spMkLst>
            <pc:docMk/>
            <pc:sldMk cId="932316183" sldId="2147483610"/>
            <ac:spMk id="183" creationId="{BC801294-FC07-9A9E-345E-EE2B11226764}"/>
          </ac:spMkLst>
        </pc:spChg>
        <pc:spChg chg="mod">
          <ac:chgData name="James Tooles" userId="831746c4-f1a4-4e78-99f9-c748f9babc85" providerId="ADAL" clId="{774FC1C6-A3A8-4E11-B657-77103C9FDF5D}" dt="2025-04-10T16:33:10.379" v="1297" actId="1036"/>
          <ac:spMkLst>
            <pc:docMk/>
            <pc:sldMk cId="932316183" sldId="2147483610"/>
            <ac:spMk id="198" creationId="{8F24D4F0-3F04-62D7-5C06-14F97FE0D9E8}"/>
          </ac:spMkLst>
        </pc:spChg>
        <pc:spChg chg="del">
          <ac:chgData name="James Tooles" userId="831746c4-f1a4-4e78-99f9-c748f9babc85" providerId="ADAL" clId="{774FC1C6-A3A8-4E11-B657-77103C9FDF5D}" dt="2025-04-10T16:32:42.699" v="1229" actId="478"/>
          <ac:spMkLst>
            <pc:docMk/>
            <pc:sldMk cId="932316183" sldId="2147483610"/>
            <ac:spMk id="199" creationId="{3F94B443-86DD-0A6C-36E7-FB970085249C}"/>
          </ac:spMkLst>
        </pc:spChg>
        <pc:spChg chg="mod">
          <ac:chgData name="James Tooles" userId="831746c4-f1a4-4e78-99f9-c748f9babc85" providerId="ADAL" clId="{774FC1C6-A3A8-4E11-B657-77103C9FDF5D}" dt="2025-04-10T16:33:10.379" v="1297" actId="1036"/>
          <ac:spMkLst>
            <pc:docMk/>
            <pc:sldMk cId="932316183" sldId="2147483610"/>
            <ac:spMk id="212" creationId="{2D95A7F2-02F7-8BF0-6735-13CFDD096C37}"/>
          </ac:spMkLst>
        </pc:spChg>
        <pc:spChg chg="del">
          <ac:chgData name="James Tooles" userId="831746c4-f1a4-4e78-99f9-c748f9babc85" providerId="ADAL" clId="{774FC1C6-A3A8-4E11-B657-77103C9FDF5D}" dt="2025-04-10T16:32:42.699" v="1229" actId="478"/>
          <ac:spMkLst>
            <pc:docMk/>
            <pc:sldMk cId="932316183" sldId="2147483610"/>
            <ac:spMk id="215" creationId="{33670CAF-E1F2-2944-4F18-4CAC09B1EFDE}"/>
          </ac:spMkLst>
        </pc:spChg>
        <pc:picChg chg="mod">
          <ac:chgData name="James Tooles" userId="831746c4-f1a4-4e78-99f9-c748f9babc85" providerId="ADAL" clId="{774FC1C6-A3A8-4E11-B657-77103C9FDF5D}" dt="2025-04-10T16:49:46.418" v="2043" actId="1038"/>
          <ac:picMkLst>
            <pc:docMk/>
            <pc:sldMk cId="932316183" sldId="2147483610"/>
            <ac:picMk id="2" creationId="{0F102E6D-ADE9-B811-65E6-8DA9D0ABEA4D}"/>
          </ac:picMkLst>
        </pc:picChg>
        <pc:picChg chg="del">
          <ac:chgData name="James Tooles" userId="831746c4-f1a4-4e78-99f9-c748f9babc85" providerId="ADAL" clId="{774FC1C6-A3A8-4E11-B657-77103C9FDF5D}" dt="2025-04-10T16:32:42.699" v="1229" actId="478"/>
          <ac:picMkLst>
            <pc:docMk/>
            <pc:sldMk cId="932316183" sldId="2147483610"/>
            <ac:picMk id="4" creationId="{8CAB73E7-5680-5811-8E57-05AE0ACB2EBE}"/>
          </ac:picMkLst>
        </pc:picChg>
        <pc:picChg chg="mod">
          <ac:chgData name="James Tooles" userId="831746c4-f1a4-4e78-99f9-c748f9babc85" providerId="ADAL" clId="{774FC1C6-A3A8-4E11-B657-77103C9FDF5D}" dt="2025-04-10T16:35:49.578" v="1511" actId="1037"/>
          <ac:picMkLst>
            <pc:docMk/>
            <pc:sldMk cId="932316183" sldId="2147483610"/>
            <ac:picMk id="7" creationId="{8798752F-DED2-74E1-5131-C69E663B0011}"/>
          </ac:picMkLst>
        </pc:picChg>
        <pc:picChg chg="add mod">
          <ac:chgData name="James Tooles" userId="831746c4-f1a4-4e78-99f9-c748f9babc85" providerId="ADAL" clId="{774FC1C6-A3A8-4E11-B657-77103C9FDF5D}" dt="2025-04-10T16:35:07.396" v="1391" actId="1076"/>
          <ac:picMkLst>
            <pc:docMk/>
            <pc:sldMk cId="932316183" sldId="2147483610"/>
            <ac:picMk id="10" creationId="{D8E4C644-75E1-D435-D343-2BEDFBD0C631}"/>
          </ac:picMkLst>
        </pc:picChg>
        <pc:picChg chg="mod">
          <ac:chgData name="James Tooles" userId="831746c4-f1a4-4e78-99f9-c748f9babc85" providerId="ADAL" clId="{774FC1C6-A3A8-4E11-B657-77103C9FDF5D}" dt="2025-04-10T16:33:25.015" v="1387" actId="1037"/>
          <ac:picMkLst>
            <pc:docMk/>
            <pc:sldMk cId="932316183" sldId="2147483610"/>
            <ac:picMk id="12" creationId="{E0EA8E06-77F3-B53A-3E01-16AB2B93CE60}"/>
          </ac:picMkLst>
        </pc:picChg>
        <pc:picChg chg="mod">
          <ac:chgData name="James Tooles" userId="831746c4-f1a4-4e78-99f9-c748f9babc85" providerId="ADAL" clId="{774FC1C6-A3A8-4E11-B657-77103C9FDF5D}" dt="2025-04-10T16:33:25.015" v="1387" actId="1037"/>
          <ac:picMkLst>
            <pc:docMk/>
            <pc:sldMk cId="932316183" sldId="2147483610"/>
            <ac:picMk id="15" creationId="{8758DE5B-E899-78B8-99F8-4563C8487C0C}"/>
          </ac:picMkLst>
        </pc:picChg>
        <pc:picChg chg="mod">
          <ac:chgData name="James Tooles" userId="831746c4-f1a4-4e78-99f9-c748f9babc85" providerId="ADAL" clId="{774FC1C6-A3A8-4E11-B657-77103C9FDF5D}" dt="2025-04-10T16:33:25.015" v="1387" actId="1037"/>
          <ac:picMkLst>
            <pc:docMk/>
            <pc:sldMk cId="932316183" sldId="2147483610"/>
            <ac:picMk id="16" creationId="{3E8C134C-F628-2063-EB63-3680D6B2E337}"/>
          </ac:picMkLst>
        </pc:picChg>
        <pc:picChg chg="mod">
          <ac:chgData name="James Tooles" userId="831746c4-f1a4-4e78-99f9-c748f9babc85" providerId="ADAL" clId="{774FC1C6-A3A8-4E11-B657-77103C9FDF5D}" dt="2025-04-10T16:33:25.015" v="1387" actId="1037"/>
          <ac:picMkLst>
            <pc:docMk/>
            <pc:sldMk cId="932316183" sldId="2147483610"/>
            <ac:picMk id="18" creationId="{1C3D9E33-5EA2-1121-11B9-AC9705B7BFB3}"/>
          </ac:picMkLst>
        </pc:picChg>
        <pc:picChg chg="add del mod">
          <ac:chgData name="James Tooles" userId="831746c4-f1a4-4e78-99f9-c748f9babc85" providerId="ADAL" clId="{774FC1C6-A3A8-4E11-B657-77103C9FDF5D}" dt="2025-04-10T16:41:05.315" v="1678" actId="21"/>
          <ac:picMkLst>
            <pc:docMk/>
            <pc:sldMk cId="932316183" sldId="2147483610"/>
            <ac:picMk id="20" creationId="{7A6759BB-DE06-8D2A-6C63-232CF17956DB}"/>
          </ac:picMkLst>
        </pc:picChg>
        <pc:picChg chg="mod">
          <ac:chgData name="James Tooles" userId="831746c4-f1a4-4e78-99f9-c748f9babc85" providerId="ADAL" clId="{774FC1C6-A3A8-4E11-B657-77103C9FDF5D}" dt="2025-04-10T16:41:14.938" v="1789" actId="1038"/>
          <ac:picMkLst>
            <pc:docMk/>
            <pc:sldMk cId="932316183" sldId="2147483610"/>
            <ac:picMk id="25" creationId="{78E08756-0F4C-79E9-CF87-9D308DCE9529}"/>
          </ac:picMkLst>
        </pc:picChg>
        <pc:picChg chg="add mod">
          <ac:chgData name="James Tooles" userId="831746c4-f1a4-4e78-99f9-c748f9babc85" providerId="ADAL" clId="{774FC1C6-A3A8-4E11-B657-77103C9FDF5D}" dt="2025-04-10T16:41:25.184" v="1898" actId="1037"/>
          <ac:picMkLst>
            <pc:docMk/>
            <pc:sldMk cId="932316183" sldId="2147483610"/>
            <ac:picMk id="29" creationId="{7A6759BB-DE06-8D2A-6C63-232CF17956DB}"/>
          </ac:picMkLst>
        </pc:picChg>
        <pc:picChg chg="mod">
          <ac:chgData name="James Tooles" userId="831746c4-f1a4-4e78-99f9-c748f9babc85" providerId="ADAL" clId="{774FC1C6-A3A8-4E11-B657-77103C9FDF5D}" dt="2025-04-10T16:40:52.341" v="1677" actId="1037"/>
          <ac:picMkLst>
            <pc:docMk/>
            <pc:sldMk cId="932316183" sldId="2147483610"/>
            <ac:picMk id="30" creationId="{36CBB4E2-0597-6083-9CC2-18341A14704D}"/>
          </ac:picMkLst>
        </pc:picChg>
        <pc:picChg chg="mod">
          <ac:chgData name="James Tooles" userId="831746c4-f1a4-4e78-99f9-c748f9babc85" providerId="ADAL" clId="{774FC1C6-A3A8-4E11-B657-77103C9FDF5D}" dt="2025-04-10T16:40:52.341" v="1677" actId="1037"/>
          <ac:picMkLst>
            <pc:docMk/>
            <pc:sldMk cId="932316183" sldId="2147483610"/>
            <ac:picMk id="32" creationId="{56A923A1-102D-577A-FDF0-0445B743DE44}"/>
          </ac:picMkLst>
        </pc:picChg>
        <pc:picChg chg="del">
          <ac:chgData name="James Tooles" userId="831746c4-f1a4-4e78-99f9-c748f9babc85" providerId="ADAL" clId="{774FC1C6-A3A8-4E11-B657-77103C9FDF5D}" dt="2025-04-10T16:32:42.699" v="1229" actId="478"/>
          <ac:picMkLst>
            <pc:docMk/>
            <pc:sldMk cId="932316183" sldId="2147483610"/>
            <ac:picMk id="33" creationId="{3894CA92-ADF8-694C-9040-87E9B06FB600}"/>
          </ac:picMkLst>
        </pc:picChg>
        <pc:picChg chg="del">
          <ac:chgData name="James Tooles" userId="831746c4-f1a4-4e78-99f9-c748f9babc85" providerId="ADAL" clId="{774FC1C6-A3A8-4E11-B657-77103C9FDF5D}" dt="2025-04-10T16:32:42.699" v="1229" actId="478"/>
          <ac:picMkLst>
            <pc:docMk/>
            <pc:sldMk cId="932316183" sldId="2147483610"/>
            <ac:picMk id="34" creationId="{B044AF36-9EDA-E9AC-B18E-477A887EA00A}"/>
          </ac:picMkLst>
        </pc:picChg>
        <pc:picChg chg="add mod">
          <ac:chgData name="James Tooles" userId="831746c4-f1a4-4e78-99f9-c748f9babc85" providerId="ADAL" clId="{774FC1C6-A3A8-4E11-B657-77103C9FDF5D}" dt="2025-04-10T16:49:46.418" v="2043" actId="1038"/>
          <ac:picMkLst>
            <pc:docMk/>
            <pc:sldMk cId="932316183" sldId="2147483610"/>
            <ac:picMk id="36" creationId="{0B7E0EB9-9AF8-1602-10D1-6EB5C2160A7D}"/>
          </ac:picMkLst>
        </pc:picChg>
        <pc:picChg chg="add mod">
          <ac:chgData name="James Tooles" userId="831746c4-f1a4-4e78-99f9-c748f9babc85" providerId="ADAL" clId="{774FC1C6-A3A8-4E11-B657-77103C9FDF5D}" dt="2025-04-10T16:49:46.418" v="2043" actId="1038"/>
          <ac:picMkLst>
            <pc:docMk/>
            <pc:sldMk cId="932316183" sldId="2147483610"/>
            <ac:picMk id="37" creationId="{F051A957-637F-AAA6-8370-28F5D21A638F}"/>
          </ac:picMkLst>
        </pc:picChg>
        <pc:picChg chg="mod">
          <ac:chgData name="James Tooles" userId="831746c4-f1a4-4e78-99f9-c748f9babc85" providerId="ADAL" clId="{774FC1C6-A3A8-4E11-B657-77103C9FDF5D}" dt="2025-04-10T16:33:10.379" v="1297" actId="1036"/>
          <ac:picMkLst>
            <pc:docMk/>
            <pc:sldMk cId="932316183" sldId="2147483610"/>
            <ac:picMk id="196" creationId="{F4DE1233-1750-B973-3F37-A9CADE064528}"/>
          </ac:picMkLst>
        </pc:picChg>
        <pc:picChg chg="mod">
          <ac:chgData name="James Tooles" userId="831746c4-f1a4-4e78-99f9-c748f9babc85" providerId="ADAL" clId="{774FC1C6-A3A8-4E11-B657-77103C9FDF5D}" dt="2025-04-10T16:33:10.379" v="1297" actId="1036"/>
          <ac:picMkLst>
            <pc:docMk/>
            <pc:sldMk cId="932316183" sldId="2147483610"/>
            <ac:picMk id="197" creationId="{0C31657B-D66B-EF01-7799-142FCF5FA6C4}"/>
          </ac:picMkLst>
        </pc:picChg>
        <pc:picChg chg="mod">
          <ac:chgData name="James Tooles" userId="831746c4-f1a4-4e78-99f9-c748f9babc85" providerId="ADAL" clId="{774FC1C6-A3A8-4E11-B657-77103C9FDF5D}" dt="2025-04-10T16:33:10.379" v="1297" actId="1036"/>
          <ac:picMkLst>
            <pc:docMk/>
            <pc:sldMk cId="932316183" sldId="2147483610"/>
            <ac:picMk id="225" creationId="{DFD6F237-A796-FF30-AC2C-8F302A8EB217}"/>
          </ac:picMkLst>
        </pc:picChg>
        <pc:picChg chg="mod">
          <ac:chgData name="James Tooles" userId="831746c4-f1a4-4e78-99f9-c748f9babc85" providerId="ADAL" clId="{774FC1C6-A3A8-4E11-B657-77103C9FDF5D}" dt="2025-04-10T16:33:10.379" v="1297" actId="1036"/>
          <ac:picMkLst>
            <pc:docMk/>
            <pc:sldMk cId="932316183" sldId="2147483610"/>
            <ac:picMk id="227" creationId="{2D99BF74-29B4-E7A1-4279-79EAF6C338EA}"/>
          </ac:picMkLst>
        </pc:picChg>
        <pc:picChg chg="del">
          <ac:chgData name="James Tooles" userId="831746c4-f1a4-4e78-99f9-c748f9babc85" providerId="ADAL" clId="{774FC1C6-A3A8-4E11-B657-77103C9FDF5D}" dt="2025-04-10T16:32:42.699" v="1229" actId="478"/>
          <ac:picMkLst>
            <pc:docMk/>
            <pc:sldMk cId="932316183" sldId="2147483610"/>
            <ac:picMk id="229" creationId="{34CCC8D4-13C9-83C0-050F-D429B513EB1B}"/>
          </ac:picMkLst>
        </pc:picChg>
        <pc:picChg chg="del">
          <ac:chgData name="James Tooles" userId="831746c4-f1a4-4e78-99f9-c748f9babc85" providerId="ADAL" clId="{774FC1C6-A3A8-4E11-B657-77103C9FDF5D}" dt="2025-04-10T16:48:39.498" v="2019" actId="478"/>
          <ac:picMkLst>
            <pc:docMk/>
            <pc:sldMk cId="932316183" sldId="2147483610"/>
            <ac:picMk id="1028" creationId="{F625BCDC-EA0C-FF9E-D58A-5BDD95D0BA70}"/>
          </ac:picMkLst>
        </pc:picChg>
        <pc:picChg chg="mod">
          <ac:chgData name="James Tooles" userId="831746c4-f1a4-4e78-99f9-c748f9babc85" providerId="ADAL" clId="{774FC1C6-A3A8-4E11-B657-77103C9FDF5D}" dt="2025-04-10T16:49:46.418" v="2043" actId="1038"/>
          <ac:picMkLst>
            <pc:docMk/>
            <pc:sldMk cId="932316183" sldId="2147483610"/>
            <ac:picMk id="1030" creationId="{7F49B80F-39FB-2616-32BB-22122978A8F4}"/>
          </ac:picMkLst>
        </pc:picChg>
        <pc:picChg chg="mod">
          <ac:chgData name="James Tooles" userId="831746c4-f1a4-4e78-99f9-c748f9babc85" providerId="ADAL" clId="{774FC1C6-A3A8-4E11-B657-77103C9FDF5D}" dt="2025-04-10T16:49:46.418" v="2043" actId="1038"/>
          <ac:picMkLst>
            <pc:docMk/>
            <pc:sldMk cId="932316183" sldId="2147483610"/>
            <ac:picMk id="1032" creationId="{CD6BE4D9-24D3-6072-E7C5-655D1D56E366}"/>
          </ac:picMkLst>
        </pc:picChg>
        <pc:picChg chg="del">
          <ac:chgData name="James Tooles" userId="831746c4-f1a4-4e78-99f9-c748f9babc85" providerId="ADAL" clId="{774FC1C6-A3A8-4E11-B657-77103C9FDF5D}" dt="2025-04-10T16:46:46.503" v="1955" actId="478"/>
          <ac:picMkLst>
            <pc:docMk/>
            <pc:sldMk cId="932316183" sldId="2147483610"/>
            <ac:picMk id="1034" creationId="{8695361A-349B-8E57-59C2-669F87865652}"/>
          </ac:picMkLst>
        </pc:picChg>
        <pc:picChg chg="mod">
          <ac:chgData name="James Tooles" userId="831746c4-f1a4-4e78-99f9-c748f9babc85" providerId="ADAL" clId="{774FC1C6-A3A8-4E11-B657-77103C9FDF5D}" dt="2025-04-10T16:35:49.578" v="1511" actId="1037"/>
          <ac:picMkLst>
            <pc:docMk/>
            <pc:sldMk cId="932316183" sldId="2147483610"/>
            <ac:picMk id="1042" creationId="{6E4E1A53-6408-EF10-73BD-A09C3A74CE9F}"/>
          </ac:picMkLst>
        </pc:picChg>
      </pc:sldChg>
      <pc:sldChg chg="del">
        <pc:chgData name="James Tooles" userId="831746c4-f1a4-4e78-99f9-c748f9babc85" providerId="ADAL" clId="{774FC1C6-A3A8-4E11-B657-77103C9FDF5D}" dt="2025-03-19T00:31:52.618" v="1" actId="47"/>
        <pc:sldMkLst>
          <pc:docMk/>
          <pc:sldMk cId="320453544" sldId="2147483611"/>
        </pc:sldMkLst>
      </pc:sldChg>
      <pc:sldChg chg="add del">
        <pc:chgData name="James Tooles" userId="831746c4-f1a4-4e78-99f9-c748f9babc85" providerId="ADAL" clId="{774FC1C6-A3A8-4E11-B657-77103C9FDF5D}" dt="2025-04-08T21:40:39.898" v="1144"/>
        <pc:sldMkLst>
          <pc:docMk/>
          <pc:sldMk cId="3901544961" sldId="2147483645"/>
        </pc:sldMkLst>
      </pc:sldChg>
      <pc:sldChg chg="add del">
        <pc:chgData name="James Tooles" userId="831746c4-f1a4-4e78-99f9-c748f9babc85" providerId="ADAL" clId="{774FC1C6-A3A8-4E11-B657-77103C9FDF5D}" dt="2025-04-08T21:40:39.898" v="1144"/>
        <pc:sldMkLst>
          <pc:docMk/>
          <pc:sldMk cId="1430621329" sldId="2147483646"/>
        </pc:sldMkLst>
      </pc:sldChg>
      <pc:sldChg chg="add del">
        <pc:chgData name="James Tooles" userId="831746c4-f1a4-4e78-99f9-c748f9babc85" providerId="ADAL" clId="{774FC1C6-A3A8-4E11-B657-77103C9FDF5D}" dt="2025-04-08T21:40:39.898" v="1144"/>
        <pc:sldMkLst>
          <pc:docMk/>
          <pc:sldMk cId="801203713" sldId="2147483647"/>
        </pc:sldMkLst>
      </pc:sldChg>
      <pc:sldMasterChg chg="del delSldLayout">
        <pc:chgData name="James Tooles" userId="831746c4-f1a4-4e78-99f9-c748f9babc85" providerId="ADAL" clId="{774FC1C6-A3A8-4E11-B657-77103C9FDF5D}" dt="2025-03-19T00:31:56.836" v="2"/>
        <pc:sldMasterMkLst>
          <pc:docMk/>
          <pc:sldMasterMk cId="248537907" sldId="2147483714"/>
        </pc:sldMasterMkLst>
        <pc:sldLayoutChg chg="del">
          <pc:chgData name="James Tooles" userId="831746c4-f1a4-4e78-99f9-c748f9babc85" providerId="ADAL" clId="{774FC1C6-A3A8-4E11-B657-77103C9FDF5D}" dt="2025-03-19T00:31:56.836" v="2"/>
          <pc:sldLayoutMkLst>
            <pc:docMk/>
            <pc:sldMasterMk cId="248537907" sldId="2147483714"/>
            <pc:sldLayoutMk cId="554986301" sldId="214748371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269989815" sldId="214748371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078637414" sldId="214748371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929961610" sldId="214748371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170149811" sldId="214748371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151764109" sldId="214748372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145422107" sldId="214748372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435127185" sldId="214748372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54009549" sldId="214748372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713010962" sldId="214748372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028161911" sldId="214748372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314029463" sldId="214748372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98458697" sldId="214748372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758685986" sldId="214748372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464010899" sldId="214748372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632302448" sldId="214748373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889978863" sldId="214748373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927347585" sldId="214748373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798902580" sldId="214748373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28045672" sldId="214748373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438089374" sldId="214748373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053072278" sldId="214748373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717773035" sldId="214748373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192967681" sldId="214748373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860907118" sldId="214748373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479901819" sldId="214748374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520340497" sldId="214748374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960123292" sldId="214748374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806275824" sldId="214748374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755254474" sldId="214748374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655512533" sldId="214748374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183545644" sldId="214748374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342829999" sldId="214748374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321204452" sldId="214748374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952446137" sldId="214748374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152476282" sldId="214748375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173137306" sldId="214748375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991495238" sldId="214748375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613487086" sldId="214748375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150945714" sldId="214748375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050747480" sldId="214748375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993363769" sldId="214748375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349066592" sldId="214748375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251727225" sldId="214748375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207076568" sldId="214748375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419171498" sldId="214748376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570425152" sldId="214748376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868778814" sldId="214748376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18437819" sldId="214748376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252120123" sldId="214748376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767110953" sldId="214748376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205911641" sldId="214748376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634274429" sldId="214748376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547427131" sldId="214748376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033818739" sldId="214748376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3108243464" sldId="214748377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655946176" sldId="214748377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021592717" sldId="214748377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396230343" sldId="214748377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853878170" sldId="214748377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100782390" sldId="214748377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347188512" sldId="2147483776"/>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910040910" sldId="2147483777"/>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760634772" sldId="2147483778"/>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051445925" sldId="2147483779"/>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195756137" sldId="2147483780"/>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642915513" sldId="2147483781"/>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2435963317" sldId="2147483782"/>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1432951185" sldId="2147483783"/>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4033052949" sldId="2147483784"/>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678541141" sldId="2147483785"/>
          </pc:sldLayoutMkLst>
        </pc:sldLayoutChg>
        <pc:sldLayoutChg chg="del">
          <pc:chgData name="James Tooles" userId="831746c4-f1a4-4e78-99f9-c748f9babc85" providerId="ADAL" clId="{774FC1C6-A3A8-4E11-B657-77103C9FDF5D}" dt="2025-03-19T00:31:56.836" v="2"/>
          <pc:sldLayoutMkLst>
            <pc:docMk/>
            <pc:sldMasterMk cId="248537907" sldId="2147483714"/>
            <pc:sldLayoutMk cId="580307948" sldId="2147483786"/>
          </pc:sldLayoutMkLst>
        </pc:sldLayoutChg>
      </pc:sldMasterChg>
      <pc:sldMasterChg chg="del delSldLayout">
        <pc:chgData name="James Tooles" userId="831746c4-f1a4-4e78-99f9-c748f9babc85" providerId="ADAL" clId="{774FC1C6-A3A8-4E11-B657-77103C9FDF5D}" dt="2025-03-19T00:31:56.836" v="2"/>
        <pc:sldMasterMkLst>
          <pc:docMk/>
          <pc:sldMasterMk cId="588699698" sldId="2147483787"/>
        </pc:sldMasterMkLst>
        <pc:sldLayoutChg chg="del">
          <pc:chgData name="James Tooles" userId="831746c4-f1a4-4e78-99f9-c748f9babc85" providerId="ADAL" clId="{774FC1C6-A3A8-4E11-B657-77103C9FDF5D}" dt="2025-03-19T00:31:56.836" v="2"/>
          <pc:sldLayoutMkLst>
            <pc:docMk/>
            <pc:sldMasterMk cId="588699698" sldId="2147483787"/>
            <pc:sldLayoutMk cId="4276707395" sldId="214748378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753027777" sldId="214748378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874129522" sldId="214748379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810635083" sldId="214748379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952092731" sldId="214748379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183040280" sldId="214748379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61646343" sldId="214748379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519227153" sldId="214748379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789542061" sldId="214748379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138026367" sldId="214748379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020219350" sldId="214748379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183007186" sldId="214748379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006136816" sldId="214748380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992364990" sldId="214748380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4229089312" sldId="214748380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853625590" sldId="214748380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649042125" sldId="214748380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302278217" sldId="214748380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380316154" sldId="214748380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916000469" sldId="214748380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606297235" sldId="214748380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4217688355" sldId="214748380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073342925" sldId="214748381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941312833" sldId="214748381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848858750" sldId="214748381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61934323" sldId="214748381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62237812" sldId="214748381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555262534" sldId="214748381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435723911" sldId="214748381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11064440" sldId="214748381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203173644" sldId="214748381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631518114" sldId="214748381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791546122" sldId="214748382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386009425" sldId="214748382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357812759" sldId="214748382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180457704" sldId="214748382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400688778" sldId="214748382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646096114" sldId="214748382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179321249" sldId="214748382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764823674" sldId="214748382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70912154" sldId="214748382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942033509" sldId="214748382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644557221" sldId="214748383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4249808714" sldId="214748383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783253260" sldId="214748383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446708446" sldId="214748383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804578548" sldId="214748383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324448654" sldId="214748383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964982356" sldId="214748383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485538670" sldId="214748383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149394764" sldId="214748383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360865244" sldId="214748383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189381859" sldId="214748384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928251474" sldId="214748384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721457528" sldId="214748384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996228734" sldId="214748384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159998997" sldId="214748384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673465490" sldId="214748384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115124099" sldId="214748384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6478768" sldId="214748384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94439131" sldId="214748384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29250208" sldId="2147483849"/>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062107135" sldId="2147483850"/>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804068247" sldId="2147483851"/>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76134205" sldId="2147483852"/>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000985305" sldId="2147483853"/>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134450414" sldId="2147483854"/>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447630609" sldId="2147483855"/>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315640871" sldId="2147483856"/>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810410190" sldId="2147483857"/>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2959865882" sldId="2147483858"/>
          </pc:sldLayoutMkLst>
        </pc:sldLayoutChg>
        <pc:sldLayoutChg chg="del">
          <pc:chgData name="James Tooles" userId="831746c4-f1a4-4e78-99f9-c748f9babc85" providerId="ADAL" clId="{774FC1C6-A3A8-4E11-B657-77103C9FDF5D}" dt="2025-03-19T00:31:56.836" v="2"/>
          <pc:sldLayoutMkLst>
            <pc:docMk/>
            <pc:sldMasterMk cId="588699698" sldId="2147483787"/>
            <pc:sldLayoutMk cId="3077709451" sldId="2147483859"/>
          </pc:sldLayoutMkLst>
        </pc:sldLayoutChg>
      </pc:sldMasterChg>
      <pc:sldMasterChg chg="del delSldLayout">
        <pc:chgData name="James Tooles" userId="831746c4-f1a4-4e78-99f9-c748f9babc85" providerId="ADAL" clId="{774FC1C6-A3A8-4E11-B657-77103C9FDF5D}" dt="2025-03-19T00:31:56.836" v="2"/>
        <pc:sldMasterMkLst>
          <pc:docMk/>
          <pc:sldMasterMk cId="536001210" sldId="2147483860"/>
        </pc:sldMasterMkLst>
        <pc:sldLayoutChg chg="del">
          <pc:chgData name="James Tooles" userId="831746c4-f1a4-4e78-99f9-c748f9babc85" providerId="ADAL" clId="{774FC1C6-A3A8-4E11-B657-77103C9FDF5D}" dt="2025-03-19T00:31:56.836" v="2"/>
          <pc:sldLayoutMkLst>
            <pc:docMk/>
            <pc:sldMasterMk cId="536001210" sldId="2147483860"/>
            <pc:sldLayoutMk cId="821329728" sldId="214748386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19698233" sldId="214748386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76751751" sldId="214748386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457891382" sldId="214748386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353436253" sldId="214748386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493656909" sldId="214748386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613598806" sldId="214748386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207434395" sldId="214748386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230824084" sldId="214748386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783765552" sldId="214748387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619175426" sldId="214748387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462187323" sldId="214748387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686518153" sldId="214748387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177313661" sldId="214748387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891947767" sldId="214748387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955862908" sldId="214748387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685977616" sldId="214748387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606134821" sldId="214748387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639911718" sldId="214748387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472906490" sldId="214748388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996697448" sldId="214748388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251332390" sldId="214748388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293586646" sldId="214748388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086843513" sldId="214748388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15611318" sldId="214748388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536507066" sldId="214748388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153937315" sldId="214748388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03195232" sldId="214748388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236992068" sldId="214748388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056099778" sldId="214748389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096644067" sldId="214748389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513355489" sldId="214748389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620451034" sldId="214748389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727142041" sldId="214748389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822447836" sldId="214748389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114981031" sldId="214748389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228862100" sldId="214748389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350214622" sldId="214748389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420841824" sldId="214748389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252205364" sldId="214748390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771983858" sldId="214748390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241032350" sldId="214748390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620643093" sldId="214748390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586252866" sldId="214748390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701732003" sldId="214748390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036118532" sldId="214748390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676997255" sldId="214748390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268154765" sldId="214748390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683127700" sldId="214748390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776415279" sldId="214748391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938633515" sldId="214748391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393391046" sldId="214748391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027279713" sldId="214748391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295889812" sldId="214748391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944943299" sldId="214748391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161165683" sldId="214748391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278847736" sldId="214748391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280891283" sldId="214748391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495218775" sldId="214748391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41728295" sldId="214748392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050667328" sldId="214748392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56625485" sldId="2147483922"/>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448484808" sldId="2147483923"/>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054526771" sldId="2147483924"/>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458601191" sldId="2147483925"/>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258851187" sldId="2147483926"/>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666690595" sldId="2147483927"/>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3400851797" sldId="2147483928"/>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206473019" sldId="2147483929"/>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683609717" sldId="2147483930"/>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340241069" sldId="2147483931"/>
          </pc:sldLayoutMkLst>
        </pc:sldLayoutChg>
        <pc:sldLayoutChg chg="del">
          <pc:chgData name="James Tooles" userId="831746c4-f1a4-4e78-99f9-c748f9babc85" providerId="ADAL" clId="{774FC1C6-A3A8-4E11-B657-77103C9FDF5D}" dt="2025-03-19T00:31:56.836" v="2"/>
          <pc:sldLayoutMkLst>
            <pc:docMk/>
            <pc:sldMasterMk cId="536001210" sldId="2147483860"/>
            <pc:sldLayoutMk cId="1536421407" sldId="2147483932"/>
          </pc:sldLayoutMkLst>
        </pc:sldLayoutChg>
      </pc:sldMasterChg>
      <pc:sldMasterChg chg="del delSldLayout">
        <pc:chgData name="James Tooles" userId="831746c4-f1a4-4e78-99f9-c748f9babc85" providerId="ADAL" clId="{774FC1C6-A3A8-4E11-B657-77103C9FDF5D}" dt="2025-03-19T00:31:56.836" v="2"/>
        <pc:sldMasterMkLst>
          <pc:docMk/>
          <pc:sldMasterMk cId="3617361519" sldId="2147483970"/>
        </pc:sldMasterMkLst>
        <pc:sldLayoutChg chg="del">
          <pc:chgData name="James Tooles" userId="831746c4-f1a4-4e78-99f9-c748f9babc85" providerId="ADAL" clId="{774FC1C6-A3A8-4E11-B657-77103C9FDF5D}" dt="2025-03-19T00:31:56.836" v="2"/>
          <pc:sldLayoutMkLst>
            <pc:docMk/>
            <pc:sldMasterMk cId="3617361519" sldId="2147483970"/>
            <pc:sldLayoutMk cId="2265992827" sldId="2147483971"/>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830828804" sldId="2147483972"/>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763294868" sldId="2147483973"/>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33062484" sldId="2147483974"/>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158243726" sldId="2147483975"/>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705761634" sldId="2147483976"/>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212633109" sldId="2147483977"/>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77662239" sldId="2147483978"/>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807320764" sldId="2147483979"/>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73309655" sldId="2147483980"/>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433352667" sldId="2147483981"/>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4293478602" sldId="2147483982"/>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414400166" sldId="2147483983"/>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644918178" sldId="2147483984"/>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771703063" sldId="2147483985"/>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808129718" sldId="2147483986"/>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785177349" sldId="2147483987"/>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839945723" sldId="2147483988"/>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853959507" sldId="2147483989"/>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090483938" sldId="2147483990"/>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988332502" sldId="2147483991"/>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271832005" sldId="2147483992"/>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971729884" sldId="2147483993"/>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621155888" sldId="2147483994"/>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4048989945" sldId="2147483995"/>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089426029" sldId="2147483996"/>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962992121" sldId="2147483997"/>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142539420" sldId="2147483998"/>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946942466" sldId="2147483999"/>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523739912" sldId="2147484000"/>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119755441" sldId="2147484001"/>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356269316" sldId="2147484002"/>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02040822" sldId="2147484003"/>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555469733" sldId="2147484004"/>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694089701" sldId="2147484005"/>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037528573" sldId="2147484006"/>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857946754" sldId="2147484007"/>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17258316" sldId="2147484008"/>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4147131645" sldId="2147484009"/>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3501366601" sldId="2147484010"/>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894118652" sldId="2147484011"/>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1740090897" sldId="2147484012"/>
          </pc:sldLayoutMkLst>
        </pc:sldLayoutChg>
        <pc:sldLayoutChg chg="del">
          <pc:chgData name="James Tooles" userId="831746c4-f1a4-4e78-99f9-c748f9babc85" providerId="ADAL" clId="{774FC1C6-A3A8-4E11-B657-77103C9FDF5D}" dt="2025-03-19T00:31:56.836" v="2"/>
          <pc:sldLayoutMkLst>
            <pc:docMk/>
            <pc:sldMasterMk cId="3617361519" sldId="2147483970"/>
            <pc:sldLayoutMk cId="2938445248" sldId="214748401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4/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blog/build-your-own-copilot-with-microsoft-azure-ai-studio/"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008C6-3BFB-84B9-89FD-BF5765136A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9B494F-EFD6-8AC9-637F-50C1BF40AD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482728-25FD-316B-EB19-4AED7ED6998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E4C0867D-AAD9-954B-F87D-CFD40326085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9476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E47F0-8532-3CC4-68BD-7F256BC097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BE3075-C4B8-F9D6-938C-AD144DBE3D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1D72A0-44B8-E21B-2E3E-0837341DD4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6C390A-673E-954F-5441-E76870CD59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035521-3C52-406A-87A8-13645DF709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34196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7EA0C-226C-C0E4-798E-3B5A575718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77F21E-F772-EEFD-9CA7-1B962D4AF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460006-33D5-03D2-41C5-8AC0568938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D3A9041-B5FB-77FC-5DC2-2604155B41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10399-A718-4F49-BCA7-C48F679C7C4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2778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A42BE-233B-5BDE-BE71-9268545134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B114D0-2496-730A-43C0-1E880D814D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889E0-AE8C-3F80-8CA2-7A8C4C3FE254}"/>
              </a:ext>
            </a:extLst>
          </p:cNvPr>
          <p:cNvSpPr>
            <a:spLocks noGrp="1"/>
          </p:cNvSpPr>
          <p:nvPr>
            <p:ph type="body" idx="1"/>
          </p:nvPr>
        </p:nvSpPr>
        <p:spPr/>
        <p:txBody>
          <a:bodyPr/>
          <a:lstStyle/>
          <a:p>
            <a:r>
              <a:rPr lang="en-US" b="1"/>
              <a:t>Office 365 Copilot</a:t>
            </a:r>
            <a:r>
              <a:rPr lang="en-US"/>
              <a:t>:</a:t>
            </a:r>
          </a:p>
          <a:p>
            <a:pPr>
              <a:buFont typeface="Arial" panose="020B0604020202020204" pitchFamily="34" charset="0"/>
              <a:buChar char="•"/>
            </a:pPr>
            <a:r>
              <a:rPr lang="en-US" b="1"/>
              <a:t>Integrated into Microsoft 365 applications</a:t>
            </a:r>
            <a:r>
              <a:rPr lang="en-US"/>
              <a:t> like Word, Excel, Teams, and Outlook.</a:t>
            </a:r>
          </a:p>
          <a:p>
            <a:pPr>
              <a:buFont typeface="Arial" panose="020B0604020202020204" pitchFamily="34" charset="0"/>
              <a:buChar char="•"/>
            </a:pPr>
            <a:r>
              <a:rPr lang="en-US" b="1"/>
              <a:t>Helps users complete tasks</a:t>
            </a:r>
            <a:r>
              <a:rPr lang="en-US"/>
              <a:t> by understanding natural language prompts.</a:t>
            </a:r>
          </a:p>
          <a:p>
            <a:pPr>
              <a:buFont typeface="Arial" panose="020B0604020202020204" pitchFamily="34" charset="0"/>
              <a:buChar char="•"/>
            </a:pPr>
            <a:r>
              <a:rPr lang="en-US" b="1"/>
              <a:t>Designed to boost productivity</a:t>
            </a:r>
            <a:r>
              <a:rPr lang="en-US"/>
              <a:t> by automating repetitive tasks and providing intelligent suggestions directly within the apps.</a:t>
            </a:r>
          </a:p>
          <a:p>
            <a:r>
              <a:rPr lang="en-US" i="1"/>
              <a:t>Example in Insurance</a:t>
            </a:r>
            <a:r>
              <a:rPr lang="en-US"/>
              <a:t>: An insurance agent can use Office 365 Copilot to draft personalized emails to clients, analyze large datasets to identify trends and opportunities faster, and summarize meetings and emails missed while on vacation.</a:t>
            </a:r>
          </a:p>
          <a:p>
            <a:r>
              <a:rPr lang="en-US"/>
              <a:t> </a:t>
            </a:r>
          </a:p>
          <a:p>
            <a:r>
              <a:rPr lang="en-US" b="1"/>
              <a:t>Copilot Studio</a:t>
            </a:r>
            <a:r>
              <a:rPr lang="en-US"/>
              <a:t>:</a:t>
            </a:r>
          </a:p>
          <a:p>
            <a:pPr>
              <a:buFont typeface="Arial" panose="020B0604020202020204" pitchFamily="34" charset="0"/>
              <a:buChar char="•"/>
            </a:pPr>
            <a:r>
              <a:rPr lang="en-US" b="1"/>
              <a:t>Part of the Microsoft Power Platform</a:t>
            </a:r>
            <a:r>
              <a:rPr lang="en-US"/>
              <a:t>.</a:t>
            </a:r>
          </a:p>
          <a:p>
            <a:pPr>
              <a:buFont typeface="Arial" panose="020B0604020202020204" pitchFamily="34" charset="0"/>
              <a:buChar char="•"/>
            </a:pPr>
            <a:r>
              <a:rPr lang="en-US" b="1"/>
              <a:t>Allows you to create and customize your own AI copilots</a:t>
            </a:r>
            <a:r>
              <a:rPr lang="en-US"/>
              <a:t> using low-code/no-code tools.</a:t>
            </a:r>
          </a:p>
          <a:p>
            <a:pPr>
              <a:buFont typeface="Arial" panose="020B0604020202020204" pitchFamily="34" charset="0"/>
              <a:buChar char="•"/>
            </a:pPr>
            <a:r>
              <a:rPr lang="en-US" b="1"/>
              <a:t>Enables the design of custom workflows</a:t>
            </a:r>
            <a:r>
              <a:rPr lang="en-US"/>
              <a:t>, integration with various data sources, and creation of unique AI-driven experiences.</a:t>
            </a:r>
          </a:p>
          <a:p>
            <a:r>
              <a:rPr lang="en-US" i="1"/>
              <a:t>Example in Insurance</a:t>
            </a:r>
            <a:r>
              <a:rPr lang="en-US"/>
              <a:t>: An insurance company can use Copilot Studio to create a custom AI assistant that helps underwriters evaluate potential and existing clients by reviewing all relevant information, such as health records and credit scores. This assistant can also help manage existing products and develop new ones to grow revenue.</a:t>
            </a:r>
          </a:p>
          <a:p>
            <a:r>
              <a:rPr lang="en-US"/>
              <a:t> </a:t>
            </a:r>
          </a:p>
          <a:p>
            <a:r>
              <a:rPr lang="en-US" b="1"/>
              <a:t>Azure AI Foundry</a:t>
            </a:r>
            <a:r>
              <a:rPr lang="en-US"/>
              <a:t>:</a:t>
            </a:r>
          </a:p>
          <a:p>
            <a:pPr>
              <a:buFont typeface="Arial" panose="020B0604020202020204" pitchFamily="34" charset="0"/>
              <a:buChar char="•"/>
            </a:pPr>
            <a:r>
              <a:rPr lang="en-US" b="1"/>
              <a:t>A more advanced platform for developing AI solutions</a:t>
            </a:r>
            <a:r>
              <a:rPr lang="en-US"/>
              <a:t>.</a:t>
            </a:r>
          </a:p>
          <a:p>
            <a:pPr>
              <a:buFont typeface="Arial" panose="020B0604020202020204" pitchFamily="34" charset="0"/>
              <a:buChar char="•"/>
            </a:pPr>
            <a:r>
              <a:rPr lang="en-US" b="1"/>
              <a:t>Supports the creation of custom AI models</a:t>
            </a:r>
            <a:r>
              <a:rPr lang="en-US"/>
              <a:t>, including natural language processing and computer vision.</a:t>
            </a:r>
          </a:p>
          <a:p>
            <a:pPr>
              <a:buFont typeface="Arial" panose="020B0604020202020204" pitchFamily="34" charset="0"/>
              <a:buChar char="•"/>
            </a:pPr>
            <a:r>
              <a:rPr lang="en-US" b="1"/>
              <a:t>Requires more technical expertise</a:t>
            </a:r>
            <a:r>
              <a:rPr lang="en-US"/>
              <a:t> for building infrastructure, coding, and training models.</a:t>
            </a:r>
          </a:p>
          <a:p>
            <a:pPr>
              <a:buFont typeface="Arial" panose="020B0604020202020204" pitchFamily="34" charset="0"/>
              <a:buChar char="•"/>
            </a:pPr>
            <a:r>
              <a:rPr lang="en-US" b="1"/>
              <a:t>Ideal for organizations needing highly customized AI solutions</a:t>
            </a:r>
            <a:r>
              <a:rPr lang="en-US"/>
              <a:t> with greater flexibility and customization.</a:t>
            </a:r>
          </a:p>
          <a:p>
            <a:r>
              <a:rPr lang="en-US" i="1"/>
              <a:t>Example in Insurance</a:t>
            </a:r>
            <a:r>
              <a:rPr lang="en-US"/>
              <a:t>: An insurance company can use Azure AI Foundry to automate the processing of insurance claim forms. This solution can classify, extract, and summarize information from claim forms, significantly increasing the daily claim processing capacity and improving operational efficiency</a:t>
            </a:r>
          </a:p>
          <a:p>
            <a:endParaRPr lang="en-US"/>
          </a:p>
        </p:txBody>
      </p:sp>
      <p:sp>
        <p:nvSpPr>
          <p:cNvPr id="4" name="Slide Number Placeholder 3">
            <a:extLst>
              <a:ext uri="{FF2B5EF4-FFF2-40B4-BE49-F238E27FC236}">
                <a16:creationId xmlns:a16="http://schemas.microsoft.com/office/drawing/2014/main" id="{FE5BC37F-0608-F742-6C64-19F860D334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72FB0F-D5D7-457E-9C3A-B1CFE03F9D1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0781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6A015-8CCA-BDB7-DC60-A4E91AEE81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CC5A51-59BD-C2EE-B30A-6F65FDCB0A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56258D-325E-1A3F-5427-2D0566FD6D4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here you have it – a complete E2E life cycle for designing, enhancing and managing agents from one, single unified SaaS based experience. </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endParaRPr lang="en-US"/>
          </a:p>
          <a:p>
            <a:endParaRPr lang="en-US"/>
          </a:p>
        </p:txBody>
      </p:sp>
      <p:sp>
        <p:nvSpPr>
          <p:cNvPr id="4" name="Slide Number Placeholder 3">
            <a:extLst>
              <a:ext uri="{FF2B5EF4-FFF2-40B4-BE49-F238E27FC236}">
                <a16:creationId xmlns:a16="http://schemas.microsoft.com/office/drawing/2014/main" id="{E4CBF24D-D6AB-1788-2465-4595199BBA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530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6E07E-8E18-A08A-802E-82908BEE83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0B16D3-468C-D958-301E-A36A96ACBB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251B0E-AE17-8E73-D6C4-B595F22B8443}"/>
              </a:ext>
            </a:extLst>
          </p:cNvPr>
          <p:cNvSpPr>
            <a:spLocks noGrp="1"/>
          </p:cNvSpPr>
          <p:nvPr>
            <p:ph type="body" idx="1"/>
          </p:nvPr>
        </p:nvSpPr>
        <p:spPr/>
        <p:txBody>
          <a:bodyPr/>
          <a:lstStyle/>
          <a:p>
            <a:pPr>
              <a:defRPr/>
            </a:pPr>
            <a:endParaRPr lang="en-US" sz="850">
              <a:latin typeface="Segoe Sans Text"/>
              <a:cs typeface="Segoe Sans Text"/>
            </a:endParaRPr>
          </a:p>
        </p:txBody>
      </p:sp>
      <p:sp>
        <p:nvSpPr>
          <p:cNvPr id="4" name="Header Placeholder 3">
            <a:extLst>
              <a:ext uri="{FF2B5EF4-FFF2-40B4-BE49-F238E27FC236}">
                <a16:creationId xmlns:a16="http://schemas.microsoft.com/office/drawing/2014/main" id="{650475F7-9291-3815-1E18-EFAB9325A73B}"/>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41AF115E-06BE-98B2-2F8A-9D094F319A35}"/>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B4A3641-7B45-0F74-27BE-4220E9C6D607}"/>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5 9:53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3812B252-2334-450C-EBAD-852456EE7B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896801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500"/>
              </a:lnSpc>
            </a:pPr>
            <a:r>
              <a:rPr lang="en-US" b="1" i="0">
                <a:effectLst/>
                <a:latin typeface="Segoe UI" panose="020B0502040204020203" pitchFamily="34" charset="0"/>
              </a:rPr>
              <a:t>Why Copilot Studio and Azure AI Foundry are Better Together:</a:t>
            </a:r>
            <a:endParaRPr lang="en-US" b="0" i="0">
              <a:effectLst/>
              <a:latin typeface="Segoe UI" panose="020B0502040204020203" pitchFamily="34" charset="0"/>
            </a:endParaRPr>
          </a:p>
          <a:p>
            <a:pPr>
              <a:lnSpc>
                <a:spcPts val="1500"/>
              </a:lnSpc>
            </a:pPr>
            <a:r>
              <a:rPr lang="en-US" b="0" i="0">
                <a:effectLst/>
                <a:latin typeface="Segoe UI" panose="020B0502040204020203" pitchFamily="34" charset="0"/>
              </a:rPr>
              <a:t>When combined, Copilot Studio and Azure AI Foundry offer a powerful and flexible solution for developing and deploying AI applications. Here are some key benefits of using them together:</a:t>
            </a:r>
          </a:p>
          <a:p>
            <a:pPr>
              <a:lnSpc>
                <a:spcPts val="1500"/>
              </a:lnSpc>
              <a:buFont typeface="Arial" panose="020B0604020202020204" pitchFamily="34" charset="0"/>
              <a:buChar char="•"/>
            </a:pPr>
            <a:r>
              <a:rPr lang="en-US" b="1" i="0">
                <a:effectLst/>
                <a:latin typeface="Segoe UI" panose="020B0502040204020203" pitchFamily="34" charset="0"/>
              </a:rPr>
              <a:t> Seamless Integration:</a:t>
            </a:r>
            <a:r>
              <a:rPr lang="en-US" b="0" i="0">
                <a:effectLst/>
                <a:latin typeface="Segoe UI" panose="020B0502040204020203" pitchFamily="34" charset="0"/>
              </a:rPr>
              <a:t> Copilot Studio can leverage the extensive catalog of AI models available in Azure AI Foundry, allowing you to create highly customized AI solutions that are grounded in cutting-edge technology</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Enhanced Customization:</a:t>
            </a:r>
            <a:r>
              <a:rPr lang="en-US" b="0" i="0">
                <a:effectLst/>
                <a:latin typeface="Segoe UI" panose="020B0502040204020203" pitchFamily="34" charset="0"/>
              </a:rPr>
              <a:t> With the tools and services provided by Azure AI Foundry, you can fine-tune and optimize the AI models developed in Copilot Studio to ensure they meet your specific need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Scalability and Security:</a:t>
            </a:r>
            <a:r>
              <a:rPr lang="en-US" b="0" i="0">
                <a:effectLst/>
                <a:latin typeface="Segoe UI" panose="020B0502040204020203" pitchFamily="34" charset="0"/>
              </a:rPr>
              <a:t> Azure AI Foundry's robust security and scalability features ensure that the AI solutions developed in Copilot Studio can be deployed and managed at scale, providing a reliable and secure environment for your AI application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Comprehensive Development Lifecycle:</a:t>
            </a:r>
            <a:r>
              <a:rPr lang="en-US" b="0" i="0">
                <a:effectLst/>
                <a:latin typeface="Segoe UI" panose="020B0502040204020203" pitchFamily="34" charset="0"/>
              </a:rPr>
              <a:t> Together, Copilot Studio and Azure AI Foundry support the entire AI development lifecycle, from defining project goals to deploying and monitoring AI applications. This unified approach simplifies the development and management process, helping you focus on driving innovation and achieving strategic goal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pPr>
            <a:endParaRPr lang="en-US" b="1" i="0">
              <a:effectLst/>
              <a:latin typeface="Segoe UI" panose="020B0502040204020203" pitchFamily="34" charset="0"/>
            </a:endParaRPr>
          </a:p>
          <a:p>
            <a:pPr>
              <a:lnSpc>
                <a:spcPts val="1500"/>
              </a:lnSpc>
            </a:pPr>
            <a:r>
              <a:rPr lang="en-US" b="1" i="0">
                <a:effectLst/>
                <a:latin typeface="Segoe UI" panose="020B0502040204020203" pitchFamily="34" charset="0"/>
              </a:rPr>
              <a:t>Copilot Studio:</a:t>
            </a:r>
            <a:endParaRPr lang="en-US" b="0" i="0">
              <a:effectLst/>
              <a:latin typeface="Segoe UI" panose="020B0502040204020203" pitchFamily="34" charset="0"/>
            </a:endParaRPr>
          </a:p>
          <a:p>
            <a:pPr>
              <a:lnSpc>
                <a:spcPts val="1500"/>
              </a:lnSpc>
            </a:pPr>
            <a:r>
              <a:rPr lang="en-US" b="0" i="0">
                <a:effectLst/>
                <a:latin typeface="Segoe UI" panose="020B0502040204020203" pitchFamily="34" charset="0"/>
              </a:rPr>
              <a:t>Copilot Studio is a versatile platform that allows organizations to create custom AI copilots tailored to their specific needs. It provides tools for building, training, and deploying AI models, enabling businesses to develop solutions that address unique challenges. With Copilot Studio, you can:</a:t>
            </a:r>
          </a:p>
          <a:p>
            <a:pPr>
              <a:lnSpc>
                <a:spcPts val="1500"/>
              </a:lnSpc>
              <a:buFont typeface="Arial" panose="020B0604020202020204" pitchFamily="34" charset="0"/>
              <a:buChar char="•"/>
            </a:pPr>
            <a:r>
              <a:rPr lang="en-US" b="1" i="0">
                <a:effectLst/>
                <a:latin typeface="Segoe UI" panose="020B0502040204020203" pitchFamily="34" charset="0"/>
              </a:rPr>
              <a:t> Develop Custom AI Solutions:</a:t>
            </a:r>
            <a:r>
              <a:rPr lang="en-US" b="0" i="0">
                <a:effectLst/>
                <a:latin typeface="Segoe UI" panose="020B0502040204020203" pitchFamily="34" charset="0"/>
              </a:rPr>
              <a:t> Create AI copilots that are specifically designed to meet your organization's requirements.</a:t>
            </a:r>
          </a:p>
          <a:p>
            <a:pPr>
              <a:lnSpc>
                <a:spcPts val="1500"/>
              </a:lnSpc>
              <a:buFont typeface="Arial" panose="020B0604020202020204" pitchFamily="34" charset="0"/>
              <a:buChar char="•"/>
            </a:pPr>
            <a:r>
              <a:rPr lang="en-US" b="1" i="0">
                <a:effectLst/>
                <a:latin typeface="Segoe UI" panose="020B0502040204020203" pitchFamily="34" charset="0"/>
              </a:rPr>
              <a:t> Extensibility:</a:t>
            </a:r>
            <a:r>
              <a:rPr lang="en-US" b="0" i="0">
                <a:effectLst/>
                <a:latin typeface="Segoe UI" panose="020B0502040204020203" pitchFamily="34" charset="0"/>
              </a:rPr>
              <a:t> Integrate with various applications and services to provide seamless assistance across different platforms.</a:t>
            </a:r>
          </a:p>
          <a:p>
            <a:pPr>
              <a:lnSpc>
                <a:spcPts val="1500"/>
              </a:lnSpc>
              <a:buFont typeface="Arial" panose="020B0604020202020204" pitchFamily="34" charset="0"/>
              <a:buChar char="•"/>
            </a:pPr>
            <a:r>
              <a:rPr lang="en-US" b="1" i="0">
                <a:effectLst/>
                <a:latin typeface="Segoe UI" panose="020B0502040204020203" pitchFamily="34" charset="0"/>
              </a:rPr>
              <a:t> Modern Customization Models:</a:t>
            </a:r>
            <a:r>
              <a:rPr lang="en-US" b="0" i="0">
                <a:effectLst/>
                <a:latin typeface="Segoe UI" panose="020B0502040204020203" pitchFamily="34" charset="0"/>
              </a:rPr>
              <a:t> Utilize modern customization options to enhance the functionality and user experience of your AI solution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pPr>
            <a:endParaRPr lang="en-US" b="1" i="0">
              <a:effectLst/>
              <a:latin typeface="Segoe UI" panose="020B0502040204020203" pitchFamily="34" charset="0"/>
            </a:endParaRPr>
          </a:p>
          <a:p>
            <a:pPr>
              <a:lnSpc>
                <a:spcPts val="1500"/>
              </a:lnSpc>
            </a:pPr>
            <a:r>
              <a:rPr lang="en-US" b="1" i="0">
                <a:effectLst/>
                <a:latin typeface="Segoe UI" panose="020B0502040204020203" pitchFamily="34" charset="0"/>
              </a:rPr>
              <a:t>Azure AI Foundry:</a:t>
            </a:r>
            <a:endParaRPr lang="en-US" b="0" i="0">
              <a:effectLst/>
              <a:latin typeface="Segoe UI" panose="020B0502040204020203" pitchFamily="34" charset="0"/>
            </a:endParaRPr>
          </a:p>
          <a:p>
            <a:pPr>
              <a:lnSpc>
                <a:spcPts val="1500"/>
              </a:lnSpc>
            </a:pPr>
            <a:r>
              <a:rPr lang="en-US" b="0" i="0">
                <a:effectLst/>
                <a:latin typeface="Segoe UI" panose="020B0502040204020203" pitchFamily="34" charset="0"/>
              </a:rPr>
              <a:t>Azure AI Foundry is a comprehensive platform for developing, testing, and deploying AI solutions. It offers a wide range of AI models, tools, and services, including Azure OpenAI, Azure AI services, and Azure AI Search. With Azure AI Foundry, you can:</a:t>
            </a:r>
          </a:p>
          <a:p>
            <a:pPr>
              <a:lnSpc>
                <a:spcPts val="1500"/>
              </a:lnSpc>
              <a:buFont typeface="Arial" panose="020B0604020202020204" pitchFamily="34" charset="0"/>
              <a:buChar char="•"/>
            </a:pPr>
            <a:r>
              <a:rPr lang="en-US" b="1" i="0">
                <a:effectLst/>
                <a:latin typeface="Segoe UI" panose="020B0502040204020203" pitchFamily="34" charset="0"/>
              </a:rPr>
              <a:t> Access a Robust Catalog of AI Models:</a:t>
            </a:r>
            <a:r>
              <a:rPr lang="en-US" b="0" i="0">
                <a:effectLst/>
                <a:latin typeface="Segoe UI" panose="020B0502040204020203" pitchFamily="34" charset="0"/>
              </a:rPr>
              <a:t> Leverage a growing catalog of frontier and open-source models from OpenAI, Hugging Face, Meta, and more</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Security and Scalability:</a:t>
            </a:r>
            <a:r>
              <a:rPr lang="en-US" b="0" i="0">
                <a:effectLst/>
                <a:latin typeface="Segoe UI" panose="020B0502040204020203" pitchFamily="34" charset="0"/>
              </a:rPr>
              <a:t> Benefit from robust security, scalability, and integration with other Azure service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Development Tools:</a:t>
            </a:r>
            <a:r>
              <a:rPr lang="en-US" b="0" i="0">
                <a:effectLst/>
                <a:latin typeface="Segoe UI" panose="020B0502040204020203" pitchFamily="34" charset="0"/>
              </a:rPr>
              <a:t> Utilize development tools for building and customizing AI applications, including reusable components like datasets, models, and indexe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buFont typeface="Arial" panose="020B0604020202020204" pitchFamily="34" charset="0"/>
              <a:buChar char="•"/>
            </a:pPr>
            <a:r>
              <a:rPr lang="en-US" b="1" i="0">
                <a:effectLst/>
                <a:latin typeface="Segoe UI" panose="020B0502040204020203" pitchFamily="34" charset="0"/>
              </a:rPr>
              <a:t> Fine-Tuning Models:</a:t>
            </a:r>
            <a:r>
              <a:rPr lang="en-US" b="0" i="0">
                <a:effectLst/>
                <a:latin typeface="Segoe UI" panose="020B0502040204020203" pitchFamily="34" charset="0"/>
              </a:rPr>
              <a:t> Fine-tune models to meet specific needs, ensuring that the AI solutions are tailored to your requirements</a:t>
            </a:r>
            <a:r>
              <a:rPr lang="en-US" b="0" i="0" u="none" strike="noStrike">
                <a:solidFill>
                  <a:srgbClr val="464FEB"/>
                </a:solidFill>
                <a:effectLst/>
                <a:latin typeface="Segoe UI" panose="020B0502040204020203" pitchFamily="34" charset="0"/>
                <a:hlinkClick r:id="rId3"/>
              </a:rPr>
              <a:t>[1]</a:t>
            </a:r>
            <a:r>
              <a:rPr lang="en-US" b="0" i="0">
                <a:effectLst/>
                <a:latin typeface="Segoe UI" panose="020B0502040204020203" pitchFamily="34" charset="0"/>
              </a:rPr>
              <a:t>.</a:t>
            </a:r>
          </a:p>
          <a:p>
            <a:pPr>
              <a:lnSpc>
                <a:spcPts val="1500"/>
              </a:lnSpc>
            </a:pPr>
            <a:endParaRPr lang="en-US" b="1" i="0">
              <a:effectLst/>
              <a:latin typeface="Segoe UI" panose="020B0502040204020203" pitchFamily="34" charset="0"/>
            </a:endParaRPr>
          </a:p>
          <a:p>
            <a:pPr>
              <a:lnSpc>
                <a:spcPts val="1500"/>
              </a:lnSpc>
            </a:pPr>
            <a:r>
              <a:rPr lang="en-US" b="1" i="0">
                <a:effectLst/>
                <a:latin typeface="Segoe UI" panose="020B0502040204020203" pitchFamily="34" charset="0"/>
              </a:rPr>
              <a:t>Conclusion:</a:t>
            </a:r>
            <a:endParaRPr lang="en-US" b="0" i="0">
              <a:effectLst/>
              <a:latin typeface="Segoe UI" panose="020B0502040204020203" pitchFamily="34" charset="0"/>
            </a:endParaRPr>
          </a:p>
          <a:p>
            <a:pPr>
              <a:lnSpc>
                <a:spcPts val="1500"/>
              </a:lnSpc>
            </a:pPr>
            <a:r>
              <a:rPr lang="en-US" b="0" i="0">
                <a:effectLst/>
                <a:latin typeface="Segoe UI" panose="020B0502040204020203" pitchFamily="34" charset="0"/>
              </a:rPr>
              <a:t>In summary, Copilot Studio and Azure AI Foundry are better together because they offer a seamless, flexible, and scalable solution for developing and deploying AI applications. By combining the strengths of both platforms, you can create highly customized AI solutions that drive innovation and efficiency in your organization.</a:t>
            </a:r>
          </a:p>
          <a:p>
            <a:pPr>
              <a:lnSpc>
                <a:spcPts val="1500"/>
              </a:lnSpc>
            </a:pPr>
            <a:r>
              <a:rPr lang="en-US" b="0" i="0">
                <a:effectLst/>
                <a:latin typeface="Segoe UI" panose="020B0502040204020203" pitchFamily="34" charset="0"/>
              </a:rPr>
              <a:t>I hope this explanation helps you understand the benefits of using Copilot Studio and Azure AI Foundry together. If you have any questions or would like to see a demo, please let me know. Thank you for your time, and I look forward to helping your organization harness the power of AI.</a:t>
            </a:r>
          </a:p>
          <a:p>
            <a:pPr>
              <a:lnSpc>
                <a:spcPts val="1500"/>
              </a:lnSpc>
            </a:pPr>
            <a:r>
              <a:rPr lang="en-US" b="0" i="0">
                <a:effectLst/>
                <a:latin typeface="Segoe UI" panose="020B0502040204020203" pitchFamily="34" charset="0"/>
              </a:rPr>
              <a:t>Feel free to customize this script to better fit your specific needs and audience. Let me know if there's anything else I can assist you with!</a:t>
            </a:r>
          </a:p>
          <a:p>
            <a:pPr>
              <a:lnSpc>
                <a:spcPts val="1500"/>
              </a:lnSpc>
            </a:pPr>
            <a:br>
              <a:rPr lang="en-US" b="1" i="0">
                <a:effectLst/>
                <a:latin typeface="Segoe UI semibold" panose="020B0702040204020203" pitchFamily="34" charset="0"/>
              </a:rPr>
            </a:br>
            <a:r>
              <a:rPr lang="en-US" b="1" i="0">
                <a:effectLst/>
                <a:latin typeface="Segoe UI semibold" panose="020B0702040204020203" pitchFamily="34" charset="0"/>
              </a:rPr>
              <a:t>References</a:t>
            </a:r>
          </a:p>
          <a:p>
            <a:pPr>
              <a:lnSpc>
                <a:spcPts val="1500"/>
              </a:lnSpc>
            </a:pPr>
            <a:r>
              <a:rPr lang="en-US" b="0" i="0">
                <a:effectLst/>
                <a:latin typeface="Segoe UI" panose="020B0502040204020203" pitchFamily="34" charset="0"/>
              </a:rPr>
              <a:t>[1] </a:t>
            </a:r>
            <a:r>
              <a:rPr lang="en-US" b="0" i="0" u="none" strike="noStrike">
                <a:solidFill>
                  <a:srgbClr val="464FEB"/>
                </a:solidFill>
                <a:effectLst/>
                <a:latin typeface="Segoe UI" panose="020B0502040204020203" pitchFamily="34" charset="0"/>
                <a:hlinkClick r:id="rId3"/>
              </a:rPr>
              <a:t>Build your own copilot with Microsoft Azure AI Studio | Microsoft Azure Blog</a:t>
            </a:r>
            <a:endParaRPr lang="en-US" b="0" i="0">
              <a:effectLst/>
              <a:latin typeface="Segoe UI" panose="020B0502040204020203" pitchFamily="34" charset="0"/>
            </a:endParaRP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72FB0F-D5D7-457E-9C3A-B1CFE03F9D1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9495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amp; Intro – Dave  </a:t>
            </a:r>
          </a:p>
          <a:p>
            <a:r>
              <a:rPr lang="en-US"/>
              <a:t>Setting the Stage - James &amp; Lali</a:t>
            </a:r>
          </a:p>
          <a:p>
            <a:r>
              <a:rPr lang="en-US"/>
              <a:t>Show &amp; Tell - Amul</a:t>
            </a:r>
          </a:p>
        </p:txBody>
      </p:sp>
      <p:sp>
        <p:nvSpPr>
          <p:cNvPr id="4" name="Slide Number Placeholder 3"/>
          <p:cNvSpPr>
            <a:spLocks noGrp="1"/>
          </p:cNvSpPr>
          <p:nvPr>
            <p:ph type="sldNum" sz="quarter" idx="5"/>
          </p:nvPr>
        </p:nvSpPr>
        <p:spPr/>
        <p:txBody>
          <a:bodyPr/>
          <a:lstStyle/>
          <a:p>
            <a:fld id="{2DCF94EB-0F90-4CAF-A60C-B21A127C6FAA}" type="slidenum">
              <a:rPr lang="en-US" smtClean="0"/>
              <a:t>4</a:t>
            </a:fld>
            <a:endParaRPr lang="en-US"/>
          </a:p>
        </p:txBody>
      </p:sp>
    </p:spTree>
    <p:extLst>
      <p:ext uri="{BB962C8B-B14F-4D97-AF65-F5344CB8AC3E}">
        <p14:creationId xmlns:p14="http://schemas.microsoft.com/office/powerpoint/2010/main" val="3102549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6E55B-076F-9270-EF5A-692858EAD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009E40-8253-9C12-62F8-1D4041D514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84AD74-B6D7-6CC4-3AE2-BF3A058BD1F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1FC3E88-F755-ED7E-4932-6FF1D4DC62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97421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0993B-7E81-2542-6DF7-EFB402D6B9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32994-BD40-A549-197C-71A3061940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8E13C5-10AF-4D7F-79BC-8CF448DF13C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59F36A87-7D3A-DB4F-FE45-F2DD143EF7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27782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9200A-10D2-D866-E985-BAEE98F7A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AE9A96-CC67-D75B-04EB-888EB7E2BB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33398B-6B5D-11B2-59B3-35B836F7731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58066B8-B28C-6A8D-D77A-3A8730F127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2434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Sans Text Semibold"/>
              <a:cs typeface="Segoe Sans Text Semibold"/>
            </a:endParaRPr>
          </a:p>
          <a:p>
            <a:endParaRPr lang="en-US">
              <a:latin typeface="Segoe Sans Text Semibold"/>
              <a:cs typeface="Segoe Sans Text Semibold"/>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A00367-D858-482A-89A1-3A3C9B4C9BE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50159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2.jpe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24.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0.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0.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24.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22.jpeg"/><Relationship Id="rId1" Type="http://schemas.openxmlformats.org/officeDocument/2006/relationships/slideMaster" Target="../slideMasters/slideMaster7.xml"/><Relationship Id="rId5" Type="http://schemas.microsoft.com/office/2007/relationships/hdphoto" Target="../media/hdphoto5.wdp"/><Relationship Id="rId4" Type="http://schemas.openxmlformats.org/officeDocument/2006/relationships/image" Target="../media/image62.pn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24.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3100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64427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8548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15001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70826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907675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259333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72123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12288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89035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8861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0290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80205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58980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8576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46530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89262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10238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3499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93784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4128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3878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4307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3018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40424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489573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463549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18660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65865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82607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14470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515841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39088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6416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70049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69226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1108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912290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155885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595205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995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857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299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23839856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3768571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53035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534472"/>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491915"/>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1345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8792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7945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04295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293743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63873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464437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77675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64327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761268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2394284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984491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4321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7368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04671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028849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741194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54474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0002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197410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531054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01542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383643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87640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7199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27706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89275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32353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19353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54858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8068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433398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64170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9458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5063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2685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562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84049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98897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73819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73686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14256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8824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1290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697005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298065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656439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766069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238573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6336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217848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2445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89428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5283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531480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697006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69307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1748295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640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025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4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81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559888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39948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68048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007555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38972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338896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19155319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4196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6933787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2054843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4/10/2025</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21836952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1011246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2825892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1299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58194700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5714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5676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39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94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95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65632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9841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60456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9795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88305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122696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25159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4053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73872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23411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6752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50536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305462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78874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585738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99435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62086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8988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74253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84418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25134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69435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6139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1959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176552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408197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245483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926150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19476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83224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30901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210297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52501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080828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343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85483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585732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60480369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0316252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595613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85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556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528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460496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66099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val="0"/>
              </a:ext>
            </a:extLst>
          </a:blip>
          <a:srcRect b="-8795"/>
          <a:stretch/>
        </p:blipFill>
        <p:spPr>
          <a:xfrm rot="16200000">
            <a:off x="-4634" y="-14609"/>
            <a:ext cx="1859270" cy="1888489"/>
          </a:xfrm>
          <a:prstGeom prst="rect">
            <a:avLst/>
          </a:prstGeom>
        </p:spPr>
      </p:pic>
    </p:spTree>
    <p:extLst>
      <p:ext uri="{BB962C8B-B14F-4D97-AF65-F5344CB8AC3E}">
        <p14:creationId xmlns:p14="http://schemas.microsoft.com/office/powerpoint/2010/main" val="131722523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3287535854"/>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7A88B-D8E4-9ECE-C415-DCA2302D2B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E03952-2261-4165-FCB9-2605E1FE85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1F3EBF-3D0A-CACC-7F60-82E3321BE952}"/>
              </a:ext>
            </a:extLst>
          </p:cNvPr>
          <p:cNvSpPr>
            <a:spLocks noGrp="1"/>
          </p:cNvSpPr>
          <p:nvPr>
            <p:ph type="dt" sz="half" idx="10"/>
          </p:nvPr>
        </p:nvSpPr>
        <p:spPr/>
        <p:txBody>
          <a:bodyPr/>
          <a:lstStyle/>
          <a:p>
            <a:fld id="{FA37D7F3-2C00-4579-A3A1-5F17A4847E5C}" type="datetimeFigureOut">
              <a:rPr lang="en-US" smtClean="0"/>
              <a:t>4/10/2025</a:t>
            </a:fld>
            <a:endParaRPr lang="en-US"/>
          </a:p>
        </p:txBody>
      </p:sp>
      <p:sp>
        <p:nvSpPr>
          <p:cNvPr id="5" name="Footer Placeholder 4">
            <a:extLst>
              <a:ext uri="{FF2B5EF4-FFF2-40B4-BE49-F238E27FC236}">
                <a16:creationId xmlns:a16="http://schemas.microsoft.com/office/drawing/2014/main" id="{CAAEDFD6-03DB-122F-3E38-FD54987294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C7D4BC-1E94-463A-C9E2-49174DA2DF4B}"/>
              </a:ext>
            </a:extLst>
          </p:cNvPr>
          <p:cNvSpPr>
            <a:spLocks noGrp="1"/>
          </p:cNvSpPr>
          <p:nvPr>
            <p:ph type="sldNum" sz="quarter" idx="12"/>
          </p:nvPr>
        </p:nvSpPr>
        <p:spPr/>
        <p:txBody>
          <a:bodyPr/>
          <a:lstStyle/>
          <a:p>
            <a:fld id="{91C17880-5D94-437A-B9D0-2E0C590B1085}" type="slidenum">
              <a:rPr lang="en-US" smtClean="0"/>
              <a:t>‹#›</a:t>
            </a:fld>
            <a:endParaRPr lang="en-US"/>
          </a:p>
        </p:txBody>
      </p:sp>
    </p:spTree>
    <p:extLst>
      <p:ext uri="{BB962C8B-B14F-4D97-AF65-F5344CB8AC3E}">
        <p14:creationId xmlns:p14="http://schemas.microsoft.com/office/powerpoint/2010/main" val="2377173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3500164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00567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445458"/>
      </p:ext>
    </p:extLst>
  </p:cSld>
  <p:clrMapOvr>
    <a:masterClrMapping/>
  </p:clrMapOvr>
  <p:transition>
    <p:fade/>
  </p:transition>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036410"/>
      </p:ext>
    </p:extLst>
  </p:cSld>
  <p:clrMapOvr>
    <a:masterClrMapping/>
  </p:clrMapOvr>
  <p:transition>
    <p:fade/>
  </p:transition>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Walkin">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6710866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cstate="screen">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368401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85136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A53F3-BA8B-7769-B891-6554390405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333747-867E-0291-DB14-6865479DC5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1BF0A3-A81D-550A-F554-7D198C997F7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3FD04B-58CA-85C5-DDCD-408ACD2703C5}"/>
              </a:ext>
            </a:extLst>
          </p:cNvPr>
          <p:cNvSpPr>
            <a:spLocks noGrp="1"/>
          </p:cNvSpPr>
          <p:nvPr>
            <p:ph type="dt" sz="half" idx="10"/>
          </p:nvPr>
        </p:nvSpPr>
        <p:spPr/>
        <p:txBody>
          <a:bodyPr/>
          <a:lstStyle/>
          <a:p>
            <a:fld id="{BF60C952-66B1-488D-95FD-9C3CE27522AF}" type="datetimeFigureOut">
              <a:rPr lang="en-US" smtClean="0"/>
              <a:t>4/10/2025</a:t>
            </a:fld>
            <a:endParaRPr lang="en-US"/>
          </a:p>
        </p:txBody>
      </p:sp>
      <p:sp>
        <p:nvSpPr>
          <p:cNvPr id="6" name="Footer Placeholder 5">
            <a:extLst>
              <a:ext uri="{FF2B5EF4-FFF2-40B4-BE49-F238E27FC236}">
                <a16:creationId xmlns:a16="http://schemas.microsoft.com/office/drawing/2014/main" id="{23011D09-D738-F6CF-91BB-D9CFE77D39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B98CBF-7A1A-7907-DEA5-B47E670BF6FF}"/>
              </a:ext>
            </a:extLst>
          </p:cNvPr>
          <p:cNvSpPr>
            <a:spLocks noGrp="1"/>
          </p:cNvSpPr>
          <p:nvPr>
            <p:ph type="sldNum" sz="quarter" idx="12"/>
          </p:nvPr>
        </p:nvSpPr>
        <p:spPr/>
        <p:txBody>
          <a:bodyPr/>
          <a:lstStyle/>
          <a:p>
            <a:fld id="{AB401A89-C1F5-42D4-AD5A-AA315BCCB68F}" type="slidenum">
              <a:rPr lang="en-US" smtClean="0"/>
              <a:t>‹#›</a:t>
            </a:fld>
            <a:endParaRPr lang="en-US"/>
          </a:p>
        </p:txBody>
      </p:sp>
    </p:spTree>
    <p:extLst>
      <p:ext uri="{BB962C8B-B14F-4D97-AF65-F5344CB8AC3E}">
        <p14:creationId xmlns:p14="http://schemas.microsoft.com/office/powerpoint/2010/main" val="9143737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4/10/2025</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4/10/2025</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Only">
    <p:bg>
      <p:bgPr>
        <a:gradFill flip="none" rotWithShape="1">
          <a:gsLst>
            <a:gs pos="0">
              <a:schemeClr val="accent2"/>
            </a:gs>
            <a:gs pos="100000">
              <a:schemeClr val="bg2"/>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002290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2447070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4/10/2025</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956014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53303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687298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30920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078420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20531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4456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03486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293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464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1.emf"/><Relationship Id="rId5" Type="http://schemas.openxmlformats.org/officeDocument/2006/relationships/slideLayout" Target="../slideLayouts/slideLayout49.xml"/><Relationship Id="rId10" Type="http://schemas.openxmlformats.org/officeDocument/2006/relationships/oleObject" Target="../embeddings/oleObject1.bin"/><Relationship Id="rId4" Type="http://schemas.openxmlformats.org/officeDocument/2006/relationships/slideLayout" Target="../slideLayouts/slideLayout48.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theme" Target="../theme/theme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slideLayout" Target="../slideLayouts/slideLayout131.xml"/><Relationship Id="rId47" Type="http://schemas.openxmlformats.org/officeDocument/2006/relationships/slideLayout" Target="../slideLayouts/slideLayout136.xml"/><Relationship Id="rId50" Type="http://schemas.openxmlformats.org/officeDocument/2006/relationships/slideLayout" Target="../slideLayouts/slideLayout139.xml"/><Relationship Id="rId55" Type="http://schemas.openxmlformats.org/officeDocument/2006/relationships/slideLayout" Target="../slideLayouts/slideLayout144.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9" Type="http://schemas.openxmlformats.org/officeDocument/2006/relationships/slideLayout" Target="../slideLayouts/slideLayout118.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45" Type="http://schemas.openxmlformats.org/officeDocument/2006/relationships/slideLayout" Target="../slideLayouts/slideLayout134.xml"/><Relationship Id="rId53" Type="http://schemas.openxmlformats.org/officeDocument/2006/relationships/slideLayout" Target="../slideLayouts/slideLayout142.xml"/><Relationship Id="rId58" Type="http://schemas.openxmlformats.org/officeDocument/2006/relationships/slideLayout" Target="../slideLayouts/slideLayout147.xml"/><Relationship Id="rId5" Type="http://schemas.openxmlformats.org/officeDocument/2006/relationships/slideLayout" Target="../slideLayouts/slideLayout94.xml"/><Relationship Id="rId61" Type="http://schemas.openxmlformats.org/officeDocument/2006/relationships/image" Target="../media/image19.svg"/><Relationship Id="rId19" Type="http://schemas.openxmlformats.org/officeDocument/2006/relationships/slideLayout" Target="../slideLayouts/slideLayout10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slideLayout" Target="../slideLayouts/slideLayout132.xml"/><Relationship Id="rId48" Type="http://schemas.openxmlformats.org/officeDocument/2006/relationships/slideLayout" Target="../slideLayouts/slideLayout137.xml"/><Relationship Id="rId56" Type="http://schemas.openxmlformats.org/officeDocument/2006/relationships/slideLayout" Target="../slideLayouts/slideLayout145.xml"/><Relationship Id="rId8" Type="http://schemas.openxmlformats.org/officeDocument/2006/relationships/slideLayout" Target="../slideLayouts/slideLayout97.xml"/><Relationship Id="rId51" Type="http://schemas.openxmlformats.org/officeDocument/2006/relationships/slideLayout" Target="../slideLayouts/slideLayout140.xml"/><Relationship Id="rId3" Type="http://schemas.openxmlformats.org/officeDocument/2006/relationships/slideLayout" Target="../slideLayouts/slideLayout92.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46" Type="http://schemas.openxmlformats.org/officeDocument/2006/relationships/slideLayout" Target="../slideLayouts/slideLayout135.xml"/><Relationship Id="rId59" Type="http://schemas.openxmlformats.org/officeDocument/2006/relationships/theme" Target="../theme/theme5.xml"/><Relationship Id="rId20" Type="http://schemas.openxmlformats.org/officeDocument/2006/relationships/slideLayout" Target="../slideLayouts/slideLayout109.xml"/><Relationship Id="rId41" Type="http://schemas.openxmlformats.org/officeDocument/2006/relationships/slideLayout" Target="../slideLayouts/slideLayout130.xml"/><Relationship Id="rId54" Type="http://schemas.openxmlformats.org/officeDocument/2006/relationships/slideLayout" Target="../slideLayouts/slideLayout143.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49" Type="http://schemas.openxmlformats.org/officeDocument/2006/relationships/slideLayout" Target="../slideLayouts/slideLayout138.xml"/><Relationship Id="rId57" Type="http://schemas.openxmlformats.org/officeDocument/2006/relationships/slideLayout" Target="../slideLayouts/slideLayout146.xml"/><Relationship Id="rId10" Type="http://schemas.openxmlformats.org/officeDocument/2006/relationships/slideLayout" Target="../slideLayouts/slideLayout99.xml"/><Relationship Id="rId31" Type="http://schemas.openxmlformats.org/officeDocument/2006/relationships/slideLayout" Target="../slideLayouts/slideLayout120.xml"/><Relationship Id="rId44" Type="http://schemas.openxmlformats.org/officeDocument/2006/relationships/slideLayout" Target="../slideLayouts/slideLayout133.xml"/><Relationship Id="rId52" Type="http://schemas.openxmlformats.org/officeDocument/2006/relationships/slideLayout" Target="../slideLayouts/slideLayout141.xml"/><Relationship Id="rId60" Type="http://schemas.openxmlformats.org/officeDocument/2006/relationships/image" Target="../media/image18.png"/><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73.xml"/><Relationship Id="rId21" Type="http://schemas.openxmlformats.org/officeDocument/2006/relationships/slideLayout" Target="../slideLayouts/slideLayout168.xml"/><Relationship Id="rId42" Type="http://schemas.openxmlformats.org/officeDocument/2006/relationships/slideLayout" Target="../slideLayouts/slideLayout189.xml"/><Relationship Id="rId47" Type="http://schemas.openxmlformats.org/officeDocument/2006/relationships/slideLayout" Target="../slideLayouts/slideLayout194.xml"/><Relationship Id="rId63" Type="http://schemas.openxmlformats.org/officeDocument/2006/relationships/slideLayout" Target="../slideLayouts/slideLayout210.xml"/><Relationship Id="rId68" Type="http://schemas.openxmlformats.org/officeDocument/2006/relationships/slideLayout" Target="../slideLayouts/slideLayout215.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3" Type="http://schemas.openxmlformats.org/officeDocument/2006/relationships/slideLayout" Target="../slideLayouts/slideLayout200.xml"/><Relationship Id="rId58" Type="http://schemas.openxmlformats.org/officeDocument/2006/relationships/slideLayout" Target="../slideLayouts/slideLayout205.xml"/><Relationship Id="rId66" Type="http://schemas.openxmlformats.org/officeDocument/2006/relationships/slideLayout" Target="../slideLayouts/slideLayout213.xml"/><Relationship Id="rId5" Type="http://schemas.openxmlformats.org/officeDocument/2006/relationships/slideLayout" Target="../slideLayouts/slideLayout152.xml"/><Relationship Id="rId61" Type="http://schemas.openxmlformats.org/officeDocument/2006/relationships/slideLayout" Target="../slideLayouts/slideLayout208.xml"/><Relationship Id="rId19" Type="http://schemas.openxmlformats.org/officeDocument/2006/relationships/slideLayout" Target="../slideLayouts/slideLayout16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slideLayout" Target="../slideLayouts/slideLayout195.xml"/><Relationship Id="rId56" Type="http://schemas.openxmlformats.org/officeDocument/2006/relationships/slideLayout" Target="../slideLayouts/slideLayout203.xml"/><Relationship Id="rId64" Type="http://schemas.openxmlformats.org/officeDocument/2006/relationships/slideLayout" Target="../slideLayouts/slideLayout211.xml"/><Relationship Id="rId69" Type="http://schemas.openxmlformats.org/officeDocument/2006/relationships/slideLayout" Target="../slideLayouts/slideLayout216.xml"/><Relationship Id="rId8" Type="http://schemas.openxmlformats.org/officeDocument/2006/relationships/slideLayout" Target="../slideLayouts/slideLayout155.xml"/><Relationship Id="rId51" Type="http://schemas.openxmlformats.org/officeDocument/2006/relationships/slideLayout" Target="../slideLayouts/slideLayout198.xml"/><Relationship Id="rId72" Type="http://schemas.openxmlformats.org/officeDocument/2006/relationships/slideLayout" Target="../slideLayouts/slideLayout219.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slideLayout" Target="../slideLayouts/slideLayout193.xml"/><Relationship Id="rId59" Type="http://schemas.openxmlformats.org/officeDocument/2006/relationships/slideLayout" Target="../slideLayouts/slideLayout206.xml"/><Relationship Id="rId67" Type="http://schemas.openxmlformats.org/officeDocument/2006/relationships/slideLayout" Target="../slideLayouts/slideLayout214.xml"/><Relationship Id="rId20" Type="http://schemas.openxmlformats.org/officeDocument/2006/relationships/slideLayout" Target="../slideLayouts/slideLayout167.xml"/><Relationship Id="rId41" Type="http://schemas.openxmlformats.org/officeDocument/2006/relationships/slideLayout" Target="../slideLayouts/slideLayout188.xml"/><Relationship Id="rId54" Type="http://schemas.openxmlformats.org/officeDocument/2006/relationships/slideLayout" Target="../slideLayouts/slideLayout201.xml"/><Relationship Id="rId62" Type="http://schemas.openxmlformats.org/officeDocument/2006/relationships/slideLayout" Target="../slideLayouts/slideLayout209.xml"/><Relationship Id="rId70" Type="http://schemas.openxmlformats.org/officeDocument/2006/relationships/slideLayout" Target="../slideLayouts/slideLayout21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49" Type="http://schemas.openxmlformats.org/officeDocument/2006/relationships/slideLayout" Target="../slideLayouts/slideLayout196.xml"/><Relationship Id="rId57" Type="http://schemas.openxmlformats.org/officeDocument/2006/relationships/slideLayout" Target="../slideLayouts/slideLayout204.xml"/><Relationship Id="rId10" Type="http://schemas.openxmlformats.org/officeDocument/2006/relationships/slideLayout" Target="../slideLayouts/slideLayout157.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52" Type="http://schemas.openxmlformats.org/officeDocument/2006/relationships/slideLayout" Target="../slideLayouts/slideLayout199.xml"/><Relationship Id="rId60" Type="http://schemas.openxmlformats.org/officeDocument/2006/relationships/slideLayout" Target="../slideLayouts/slideLayout207.xml"/><Relationship Id="rId65" Type="http://schemas.openxmlformats.org/officeDocument/2006/relationships/slideLayout" Target="../slideLayouts/slideLayout212.xml"/><Relationship Id="rId73" Type="http://schemas.openxmlformats.org/officeDocument/2006/relationships/theme" Target="../theme/theme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9" Type="http://schemas.openxmlformats.org/officeDocument/2006/relationships/slideLayout" Target="../slideLayouts/slideLayout186.xml"/><Relationship Id="rId34" Type="http://schemas.openxmlformats.org/officeDocument/2006/relationships/slideLayout" Target="../slideLayouts/slideLayout181.xml"/><Relationship Id="rId50" Type="http://schemas.openxmlformats.org/officeDocument/2006/relationships/slideLayout" Target="../slideLayouts/slideLayout197.xml"/><Relationship Id="rId55" Type="http://schemas.openxmlformats.org/officeDocument/2006/relationships/slideLayout" Target="../slideLayouts/slideLayout202.xml"/><Relationship Id="rId7" Type="http://schemas.openxmlformats.org/officeDocument/2006/relationships/slideLayout" Target="../slideLayouts/slideLayout154.xml"/><Relationship Id="rId71" Type="http://schemas.openxmlformats.org/officeDocument/2006/relationships/slideLayout" Target="../slideLayouts/slideLayout218.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45.xml"/><Relationship Id="rId21" Type="http://schemas.openxmlformats.org/officeDocument/2006/relationships/slideLayout" Target="../slideLayouts/slideLayout240.xml"/><Relationship Id="rId42" Type="http://schemas.openxmlformats.org/officeDocument/2006/relationships/slideLayout" Target="../slideLayouts/slideLayout261.xml"/><Relationship Id="rId47" Type="http://schemas.openxmlformats.org/officeDocument/2006/relationships/slideLayout" Target="../slideLayouts/slideLayout266.xml"/><Relationship Id="rId63" Type="http://schemas.openxmlformats.org/officeDocument/2006/relationships/slideLayout" Target="../slideLayouts/slideLayout282.xml"/><Relationship Id="rId68" Type="http://schemas.openxmlformats.org/officeDocument/2006/relationships/image" Target="../media/image18.png"/><Relationship Id="rId7" Type="http://schemas.openxmlformats.org/officeDocument/2006/relationships/slideLayout" Target="../slideLayouts/slideLayout22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9" Type="http://schemas.openxmlformats.org/officeDocument/2006/relationships/slideLayout" Target="../slideLayouts/slideLayout248.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slideLayout" Target="../slideLayouts/slideLayout259.xml"/><Relationship Id="rId45" Type="http://schemas.openxmlformats.org/officeDocument/2006/relationships/slideLayout" Target="../slideLayouts/slideLayout264.xml"/><Relationship Id="rId53" Type="http://schemas.openxmlformats.org/officeDocument/2006/relationships/slideLayout" Target="../slideLayouts/slideLayout272.xml"/><Relationship Id="rId58" Type="http://schemas.openxmlformats.org/officeDocument/2006/relationships/slideLayout" Target="../slideLayouts/slideLayout277.xml"/><Relationship Id="rId66" Type="http://schemas.openxmlformats.org/officeDocument/2006/relationships/slideLayout" Target="../slideLayouts/slideLayout285.xml"/><Relationship Id="rId5" Type="http://schemas.openxmlformats.org/officeDocument/2006/relationships/slideLayout" Target="../slideLayouts/slideLayout224.xml"/><Relationship Id="rId61" Type="http://schemas.openxmlformats.org/officeDocument/2006/relationships/slideLayout" Target="../slideLayouts/slideLayout280.xml"/><Relationship Id="rId19" Type="http://schemas.openxmlformats.org/officeDocument/2006/relationships/slideLayout" Target="../slideLayouts/slideLayout23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43" Type="http://schemas.openxmlformats.org/officeDocument/2006/relationships/slideLayout" Target="../slideLayouts/slideLayout262.xml"/><Relationship Id="rId48" Type="http://schemas.openxmlformats.org/officeDocument/2006/relationships/slideLayout" Target="../slideLayouts/slideLayout267.xml"/><Relationship Id="rId56" Type="http://schemas.openxmlformats.org/officeDocument/2006/relationships/slideLayout" Target="../slideLayouts/slideLayout275.xml"/><Relationship Id="rId64" Type="http://schemas.openxmlformats.org/officeDocument/2006/relationships/slideLayout" Target="../slideLayouts/slideLayout283.xml"/><Relationship Id="rId69" Type="http://schemas.openxmlformats.org/officeDocument/2006/relationships/image" Target="../media/image19.svg"/><Relationship Id="rId8" Type="http://schemas.openxmlformats.org/officeDocument/2006/relationships/slideLayout" Target="../slideLayouts/slideLayout227.xml"/><Relationship Id="rId51" Type="http://schemas.openxmlformats.org/officeDocument/2006/relationships/slideLayout" Target="../slideLayouts/slideLayout270.xml"/><Relationship Id="rId3" Type="http://schemas.openxmlformats.org/officeDocument/2006/relationships/slideLayout" Target="../slideLayouts/slideLayout222.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 Id="rId46" Type="http://schemas.openxmlformats.org/officeDocument/2006/relationships/slideLayout" Target="../slideLayouts/slideLayout265.xml"/><Relationship Id="rId59" Type="http://schemas.openxmlformats.org/officeDocument/2006/relationships/slideLayout" Target="../slideLayouts/slideLayout278.xml"/><Relationship Id="rId67" Type="http://schemas.openxmlformats.org/officeDocument/2006/relationships/theme" Target="../theme/theme7.xml"/><Relationship Id="rId20" Type="http://schemas.openxmlformats.org/officeDocument/2006/relationships/slideLayout" Target="../slideLayouts/slideLayout239.xml"/><Relationship Id="rId41" Type="http://schemas.openxmlformats.org/officeDocument/2006/relationships/slideLayout" Target="../slideLayouts/slideLayout260.xml"/><Relationship Id="rId54" Type="http://schemas.openxmlformats.org/officeDocument/2006/relationships/slideLayout" Target="../slideLayouts/slideLayout273.xml"/><Relationship Id="rId62" Type="http://schemas.openxmlformats.org/officeDocument/2006/relationships/slideLayout" Target="../slideLayouts/slideLayout28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49" Type="http://schemas.openxmlformats.org/officeDocument/2006/relationships/slideLayout" Target="../slideLayouts/slideLayout268.xml"/><Relationship Id="rId57" Type="http://schemas.openxmlformats.org/officeDocument/2006/relationships/slideLayout" Target="../slideLayouts/slideLayout276.xml"/><Relationship Id="rId10" Type="http://schemas.openxmlformats.org/officeDocument/2006/relationships/slideLayout" Target="../slideLayouts/slideLayout229.xml"/><Relationship Id="rId31" Type="http://schemas.openxmlformats.org/officeDocument/2006/relationships/slideLayout" Target="../slideLayouts/slideLayout250.xml"/><Relationship Id="rId44" Type="http://schemas.openxmlformats.org/officeDocument/2006/relationships/slideLayout" Target="../slideLayouts/slideLayout263.xml"/><Relationship Id="rId52" Type="http://schemas.openxmlformats.org/officeDocument/2006/relationships/slideLayout" Target="../slideLayouts/slideLayout271.xml"/><Relationship Id="rId60" Type="http://schemas.openxmlformats.org/officeDocument/2006/relationships/slideLayout" Target="../slideLayouts/slideLayout279.xml"/><Relationship Id="rId65" Type="http://schemas.openxmlformats.org/officeDocument/2006/relationships/slideLayout" Target="../slideLayouts/slideLayout284.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9" Type="http://schemas.openxmlformats.org/officeDocument/2006/relationships/slideLayout" Target="../slideLayouts/slideLayout258.xml"/><Relationship Id="rId34" Type="http://schemas.openxmlformats.org/officeDocument/2006/relationships/slideLayout" Target="../slideLayouts/slideLayout253.xml"/><Relationship Id="rId50" Type="http://schemas.openxmlformats.org/officeDocument/2006/relationships/slideLayout" Target="../slideLayouts/slideLayout269.xml"/><Relationship Id="rId55" Type="http://schemas.openxmlformats.org/officeDocument/2006/relationships/slideLayout" Target="../slideLayouts/slideLayout2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4/10/2025</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9"/>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4213" r:id="rId6"/>
    <p:sldLayoutId id="2147484215"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0">
            <a:extLst>
              <a:ext uri="{96DAC541-7B7A-43D3-8B79-37D633B846F1}">
                <asvg:svgBlip xmlns:asvg="http://schemas.microsoft.com/office/drawing/2016/SVG/main" r:embed="rId6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40190733"/>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 id="2147484035" r:id="rId21"/>
    <p:sldLayoutId id="2147484036" r:id="rId22"/>
    <p:sldLayoutId id="2147484037" r:id="rId23"/>
    <p:sldLayoutId id="2147484038" r:id="rId24"/>
    <p:sldLayoutId id="2147484039" r:id="rId25"/>
    <p:sldLayoutId id="2147484040" r:id="rId26"/>
    <p:sldLayoutId id="2147484041" r:id="rId27"/>
    <p:sldLayoutId id="2147484042" r:id="rId28"/>
    <p:sldLayoutId id="2147484043" r:id="rId29"/>
    <p:sldLayoutId id="2147484044" r:id="rId30"/>
    <p:sldLayoutId id="2147484045" r:id="rId31"/>
    <p:sldLayoutId id="2147484046" r:id="rId32"/>
    <p:sldLayoutId id="2147484047" r:id="rId33"/>
    <p:sldLayoutId id="2147484048" r:id="rId34"/>
    <p:sldLayoutId id="2147484049" r:id="rId35"/>
    <p:sldLayoutId id="2147484050" r:id="rId36"/>
    <p:sldLayoutId id="2147484051" r:id="rId37"/>
    <p:sldLayoutId id="2147484052" r:id="rId38"/>
    <p:sldLayoutId id="2147484053" r:id="rId39"/>
    <p:sldLayoutId id="2147484054" r:id="rId40"/>
    <p:sldLayoutId id="2147484055" r:id="rId41"/>
    <p:sldLayoutId id="2147484056" r:id="rId42"/>
    <p:sldLayoutId id="2147484057" r:id="rId43"/>
    <p:sldLayoutId id="2147484058" r:id="rId44"/>
    <p:sldLayoutId id="2147484059" r:id="rId45"/>
    <p:sldLayoutId id="2147484060" r:id="rId46"/>
    <p:sldLayoutId id="2147484061" r:id="rId47"/>
    <p:sldLayoutId id="2147484062" r:id="rId48"/>
    <p:sldLayoutId id="2147484063" r:id="rId49"/>
    <p:sldLayoutId id="2147484064" r:id="rId50"/>
    <p:sldLayoutId id="2147484065" r:id="rId51"/>
    <p:sldLayoutId id="2147484066" r:id="rId52"/>
    <p:sldLayoutId id="2147484067" r:id="rId53"/>
    <p:sldLayoutId id="2147484068" r:id="rId54"/>
    <p:sldLayoutId id="2147484069" r:id="rId55"/>
    <p:sldLayoutId id="2147484070" r:id="rId56"/>
    <p:sldLayoutId id="2147484071" r:id="rId57"/>
    <p:sldLayoutId id="2147484072" r:id="rId5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7761815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 id="2147484102" r:id="rId29"/>
    <p:sldLayoutId id="2147484103" r:id="rId30"/>
    <p:sldLayoutId id="2147484104" r:id="rId31"/>
    <p:sldLayoutId id="2147484105" r:id="rId32"/>
    <p:sldLayoutId id="2147484106" r:id="rId33"/>
    <p:sldLayoutId id="2147484107" r:id="rId34"/>
    <p:sldLayoutId id="2147484108" r:id="rId35"/>
    <p:sldLayoutId id="2147484109" r:id="rId36"/>
    <p:sldLayoutId id="2147484110" r:id="rId37"/>
    <p:sldLayoutId id="2147484111" r:id="rId38"/>
    <p:sldLayoutId id="2147484112" r:id="rId39"/>
    <p:sldLayoutId id="2147484113" r:id="rId40"/>
    <p:sldLayoutId id="2147484114" r:id="rId41"/>
    <p:sldLayoutId id="2147484115" r:id="rId42"/>
    <p:sldLayoutId id="2147484116" r:id="rId43"/>
    <p:sldLayoutId id="2147484117" r:id="rId44"/>
    <p:sldLayoutId id="2147484118" r:id="rId45"/>
    <p:sldLayoutId id="2147484119" r:id="rId46"/>
    <p:sldLayoutId id="2147484120" r:id="rId47"/>
    <p:sldLayoutId id="2147484121" r:id="rId48"/>
    <p:sldLayoutId id="2147484122" r:id="rId49"/>
    <p:sldLayoutId id="2147484123" r:id="rId50"/>
    <p:sldLayoutId id="2147484124" r:id="rId51"/>
    <p:sldLayoutId id="2147484125" r:id="rId52"/>
    <p:sldLayoutId id="2147484126" r:id="rId53"/>
    <p:sldLayoutId id="2147484127" r:id="rId54"/>
    <p:sldLayoutId id="2147484128" r:id="rId55"/>
    <p:sldLayoutId id="2147484129" r:id="rId56"/>
    <p:sldLayoutId id="2147484130" r:id="rId57"/>
    <p:sldLayoutId id="2147484131" r:id="rId58"/>
    <p:sldLayoutId id="2147484132" r:id="rId59"/>
    <p:sldLayoutId id="2147484133" r:id="rId60"/>
    <p:sldLayoutId id="2147484134" r:id="rId61"/>
    <p:sldLayoutId id="2147484135" r:id="rId62"/>
    <p:sldLayoutId id="2147484136" r:id="rId63"/>
    <p:sldLayoutId id="2147484137" r:id="rId64"/>
    <p:sldLayoutId id="2147484138" r:id="rId65"/>
    <p:sldLayoutId id="2147484139" r:id="rId66"/>
    <p:sldLayoutId id="2147484140" r:id="rId67"/>
    <p:sldLayoutId id="2147484141" r:id="rId68"/>
    <p:sldLayoutId id="2147484142" r:id="rId69"/>
    <p:sldLayoutId id="2147484143" r:id="rId70"/>
    <p:sldLayoutId id="2147484144" r:id="rId71"/>
    <p:sldLayoutId id="214748421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8">
            <a:extLst>
              <a:ext uri="{96DAC541-7B7A-43D3-8B79-37D633B846F1}">
                <asvg:svgBlip xmlns:asvg="http://schemas.microsoft.com/office/drawing/2016/SVG/main" r:embed="rId6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62191034"/>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 id="2147484178" r:id="rId33"/>
    <p:sldLayoutId id="2147484179" r:id="rId34"/>
    <p:sldLayoutId id="2147484180" r:id="rId35"/>
    <p:sldLayoutId id="2147484181" r:id="rId36"/>
    <p:sldLayoutId id="2147484182" r:id="rId37"/>
    <p:sldLayoutId id="2147484183" r:id="rId38"/>
    <p:sldLayoutId id="2147484184" r:id="rId39"/>
    <p:sldLayoutId id="2147484185" r:id="rId40"/>
    <p:sldLayoutId id="2147484186" r:id="rId41"/>
    <p:sldLayoutId id="2147484187" r:id="rId42"/>
    <p:sldLayoutId id="2147484188" r:id="rId43"/>
    <p:sldLayoutId id="2147484189" r:id="rId44"/>
    <p:sldLayoutId id="2147484190" r:id="rId45"/>
    <p:sldLayoutId id="2147484191" r:id="rId46"/>
    <p:sldLayoutId id="2147484192" r:id="rId47"/>
    <p:sldLayoutId id="2147484193" r:id="rId48"/>
    <p:sldLayoutId id="2147484194" r:id="rId49"/>
    <p:sldLayoutId id="2147484195" r:id="rId50"/>
    <p:sldLayoutId id="2147484196" r:id="rId51"/>
    <p:sldLayoutId id="2147484197" r:id="rId52"/>
    <p:sldLayoutId id="2147484198" r:id="rId53"/>
    <p:sldLayoutId id="2147484199" r:id="rId54"/>
    <p:sldLayoutId id="2147484200" r:id="rId55"/>
    <p:sldLayoutId id="2147484201" r:id="rId56"/>
    <p:sldLayoutId id="2147484202" r:id="rId57"/>
    <p:sldLayoutId id="2147484203" r:id="rId58"/>
    <p:sldLayoutId id="2147484204" r:id="rId59"/>
    <p:sldLayoutId id="2147484205" r:id="rId60"/>
    <p:sldLayoutId id="2147484206" r:id="rId61"/>
    <p:sldLayoutId id="2147484207" r:id="rId62"/>
    <p:sldLayoutId id="2147484208" r:id="rId63"/>
    <p:sldLayoutId id="2147484209" r:id="rId64"/>
    <p:sldLayoutId id="2147484210" r:id="rId65"/>
    <p:sldLayoutId id="2147484211" r:id="rId6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xml"/><Relationship Id="rId4" Type="http://schemas.openxmlformats.org/officeDocument/2006/relationships/image" Target="../media/image65.png"/></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0.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64.png"/><Relationship Id="rId7"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48.xml"/><Relationship Id="rId6" Type="http://schemas.openxmlformats.org/officeDocument/2006/relationships/image" Target="../media/image79.sv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63.png"/><Relationship Id="rId9" Type="http://schemas.openxmlformats.org/officeDocument/2006/relationships/image" Target="../media/image82.png"/></Relationships>
</file>

<file path=ppt/slides/_rels/slide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51.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13" Type="http://schemas.openxmlformats.org/officeDocument/2006/relationships/image" Target="../media/image94.png"/><Relationship Id="rId18" Type="http://schemas.openxmlformats.org/officeDocument/2006/relationships/image" Target="../media/image99.svg"/><Relationship Id="rId26" Type="http://schemas.openxmlformats.org/officeDocument/2006/relationships/image" Target="../media/image107.svg"/><Relationship Id="rId3" Type="http://schemas.openxmlformats.org/officeDocument/2006/relationships/image" Target="../media/image85.png"/><Relationship Id="rId21" Type="http://schemas.openxmlformats.org/officeDocument/2006/relationships/image" Target="../media/image102.png"/><Relationship Id="rId34" Type="http://schemas.openxmlformats.org/officeDocument/2006/relationships/image" Target="../media/image115.svg"/><Relationship Id="rId7" Type="http://schemas.openxmlformats.org/officeDocument/2006/relationships/image" Target="../media/image89.png"/><Relationship Id="rId12" Type="http://schemas.openxmlformats.org/officeDocument/2006/relationships/image" Target="../media/image93.png"/><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2" Type="http://schemas.openxmlformats.org/officeDocument/2006/relationships/notesSlide" Target="../notesSlides/notesSlide11.xml"/><Relationship Id="rId16" Type="http://schemas.openxmlformats.org/officeDocument/2006/relationships/image" Target="../media/image97.svg"/><Relationship Id="rId20" Type="http://schemas.openxmlformats.org/officeDocument/2006/relationships/image" Target="../media/image101.svg"/><Relationship Id="rId29" Type="http://schemas.openxmlformats.org/officeDocument/2006/relationships/image" Target="../media/image110.png"/><Relationship Id="rId1" Type="http://schemas.openxmlformats.org/officeDocument/2006/relationships/slideLayout" Target="../slideLayouts/slideLayout105.xml"/><Relationship Id="rId6" Type="http://schemas.openxmlformats.org/officeDocument/2006/relationships/image" Target="../media/image88.png"/><Relationship Id="rId11" Type="http://schemas.openxmlformats.org/officeDocument/2006/relationships/image" Target="../media/image92.png"/><Relationship Id="rId24" Type="http://schemas.openxmlformats.org/officeDocument/2006/relationships/image" Target="../media/image105.svg"/><Relationship Id="rId32" Type="http://schemas.openxmlformats.org/officeDocument/2006/relationships/image" Target="../media/image113.svg"/><Relationship Id="rId5" Type="http://schemas.openxmlformats.org/officeDocument/2006/relationships/image" Target="../media/image87.png"/><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svg"/><Relationship Id="rId36" Type="http://schemas.openxmlformats.org/officeDocument/2006/relationships/image" Target="../media/image117.svg"/><Relationship Id="rId10" Type="http://schemas.microsoft.com/office/2007/relationships/hdphoto" Target="../media/hdphoto7.wdp"/><Relationship Id="rId19" Type="http://schemas.openxmlformats.org/officeDocument/2006/relationships/image" Target="../media/image100.png"/><Relationship Id="rId31" Type="http://schemas.openxmlformats.org/officeDocument/2006/relationships/image" Target="../media/image112.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5.svg"/><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svg"/><Relationship Id="rId35" Type="http://schemas.openxmlformats.org/officeDocument/2006/relationships/image" Target="../media/image116.png"/><Relationship Id="rId8" Type="http://schemas.openxmlformats.org/officeDocument/2006/relationships/image" Target="../media/image90.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22.svg"/><Relationship Id="rId18" Type="http://schemas.openxmlformats.org/officeDocument/2006/relationships/image" Target="../media/image102.png"/><Relationship Id="rId3" Type="http://schemas.openxmlformats.org/officeDocument/2006/relationships/hyperlink" Target="https://www.microsoft.com/en/customers/story/1770317375595733395-hp-github-professional-services-en-united-states" TargetMode="External"/><Relationship Id="rId7" Type="http://schemas.openxmlformats.org/officeDocument/2006/relationships/hyperlink" Target="https://www.microsoft.com/en/customers/story/1792260322207475324-lionbridge-technologies-azure-openai-service-other-en-united-states" TargetMode="External"/><Relationship Id="rId12" Type="http://schemas.openxmlformats.org/officeDocument/2006/relationships/image" Target="../media/image121.png"/><Relationship Id="rId17" Type="http://schemas.openxmlformats.org/officeDocument/2006/relationships/image" Target="../media/image126.svg"/><Relationship Id="rId2" Type="http://schemas.openxmlformats.org/officeDocument/2006/relationships/notesSlide" Target="../notesSlides/notesSlide13.xml"/><Relationship Id="rId16" Type="http://schemas.openxmlformats.org/officeDocument/2006/relationships/image" Target="../media/image125.png"/><Relationship Id="rId1" Type="http://schemas.openxmlformats.org/officeDocument/2006/relationships/slideLayout" Target="../slideLayouts/slideLayout162.xml"/><Relationship Id="rId6" Type="http://schemas.openxmlformats.org/officeDocument/2006/relationships/hyperlink" Target="https://www.microsoft.com/en/customers/story/18754-city-of-burlington-microsoft-power-platform" TargetMode="External"/><Relationship Id="rId11" Type="http://schemas.openxmlformats.org/officeDocument/2006/relationships/image" Target="../media/image120.svg"/><Relationship Id="rId5" Type="http://schemas.openxmlformats.org/officeDocument/2006/relationships/hyperlink" Target="https://www.microsoft.com/en/customers/story/1771760434465986810-lumen-microsoft-copilot-telecommunications-en-united-states" TargetMode="External"/><Relationship Id="rId15" Type="http://schemas.openxmlformats.org/officeDocument/2006/relationships/image" Target="../media/image124.svg"/><Relationship Id="rId10" Type="http://schemas.openxmlformats.org/officeDocument/2006/relationships/image" Target="../media/image119.png"/><Relationship Id="rId19" Type="http://schemas.openxmlformats.org/officeDocument/2006/relationships/hyperlink" Target="https://www.microsoft.com/en-us/microsoft-365/blog/2025/01/15/copilot-for-all-introducing-microsoft-365-copilot-chat/?msockid=140cdee33be661ee2b64cd763a4c60a2" TargetMode="External"/><Relationship Id="rId4" Type="http://schemas.openxmlformats.org/officeDocument/2006/relationships/hyperlink" Target="https://www.microsoft.com/en/customers/story/19830-eaton-microsoft-365-copilot" TargetMode="External"/><Relationship Id="rId9" Type="http://schemas.openxmlformats.org/officeDocument/2006/relationships/image" Target="../media/image118.png"/><Relationship Id="rId14" Type="http://schemas.openxmlformats.org/officeDocument/2006/relationships/image" Target="../media/image123.png"/></Relationships>
</file>

<file path=ppt/slides/_rels/slide18.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14.xml"/><Relationship Id="rId1" Type="http://schemas.openxmlformats.org/officeDocument/2006/relationships/slideLayout" Target="../slideLayouts/slideLayout162.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svg"/><Relationship Id="rId9" Type="http://schemas.openxmlformats.org/officeDocument/2006/relationships/image" Target="../media/image133.png"/></Relationships>
</file>

<file path=ppt/slides/_rels/slide19.xml.rels><?xml version="1.0" encoding="UTF-8" standalone="yes"?>
<Relationships xmlns="http://schemas.openxmlformats.org/package/2006/relationships"><Relationship Id="rId26" Type="http://schemas.openxmlformats.org/officeDocument/2006/relationships/image" Target="../media/image155.png"/><Relationship Id="rId21" Type="http://schemas.openxmlformats.org/officeDocument/2006/relationships/image" Target="../media/image86.png"/><Relationship Id="rId42" Type="http://schemas.microsoft.com/office/2007/relationships/hdphoto" Target="../media/hdphoto9.wdp"/><Relationship Id="rId47" Type="http://schemas.openxmlformats.org/officeDocument/2006/relationships/image" Target="../media/image172.svg"/><Relationship Id="rId63" Type="http://schemas.openxmlformats.org/officeDocument/2006/relationships/image" Target="../media/image187.png"/><Relationship Id="rId68" Type="http://schemas.openxmlformats.org/officeDocument/2006/relationships/image" Target="../media/image96.png"/><Relationship Id="rId84" Type="http://schemas.openxmlformats.org/officeDocument/2006/relationships/image" Target="../media/image203.png"/><Relationship Id="rId89" Type="http://schemas.openxmlformats.org/officeDocument/2006/relationships/image" Target="../media/image208.jpeg"/><Relationship Id="rId16" Type="http://schemas.openxmlformats.org/officeDocument/2006/relationships/image" Target="../media/image148.png"/><Relationship Id="rId107" Type="http://schemas.openxmlformats.org/officeDocument/2006/relationships/image" Target="../media/image222.svg"/><Relationship Id="rId11" Type="http://schemas.openxmlformats.org/officeDocument/2006/relationships/image" Target="../media/image143.png"/><Relationship Id="rId32" Type="http://schemas.openxmlformats.org/officeDocument/2006/relationships/image" Target="../media/image158.png"/><Relationship Id="rId37" Type="http://schemas.openxmlformats.org/officeDocument/2006/relationships/image" Target="../media/image163.png"/><Relationship Id="rId53" Type="http://schemas.openxmlformats.org/officeDocument/2006/relationships/image" Target="../media/image177.svg"/><Relationship Id="rId58" Type="http://schemas.openxmlformats.org/officeDocument/2006/relationships/image" Target="../media/image182.svg"/><Relationship Id="rId74" Type="http://schemas.openxmlformats.org/officeDocument/2006/relationships/image" Target="../media/image193.svg"/><Relationship Id="rId79" Type="http://schemas.openxmlformats.org/officeDocument/2006/relationships/image" Target="../media/image198.png"/><Relationship Id="rId102" Type="http://schemas.openxmlformats.org/officeDocument/2006/relationships/image" Target="../media/image219.png"/><Relationship Id="rId5" Type="http://schemas.openxmlformats.org/officeDocument/2006/relationships/image" Target="../media/image138.png"/><Relationship Id="rId90" Type="http://schemas.openxmlformats.org/officeDocument/2006/relationships/image" Target="../media/image209.jpeg"/><Relationship Id="rId95" Type="http://schemas.openxmlformats.org/officeDocument/2006/relationships/image" Target="../media/image214.png"/><Relationship Id="rId22" Type="http://schemas.openxmlformats.org/officeDocument/2006/relationships/image" Target="../media/image87.png"/><Relationship Id="rId27" Type="http://schemas.microsoft.com/office/2007/relationships/hdphoto" Target="../media/hdphoto8.wdp"/><Relationship Id="rId43" Type="http://schemas.openxmlformats.org/officeDocument/2006/relationships/image" Target="../media/image168.png"/><Relationship Id="rId48" Type="http://schemas.openxmlformats.org/officeDocument/2006/relationships/image" Target="../media/image173.png"/><Relationship Id="rId64" Type="http://schemas.openxmlformats.org/officeDocument/2006/relationships/image" Target="../media/image188.svg"/><Relationship Id="rId69" Type="http://schemas.openxmlformats.org/officeDocument/2006/relationships/image" Target="../media/image97.svg"/><Relationship Id="rId80" Type="http://schemas.openxmlformats.org/officeDocument/2006/relationships/image" Target="../media/image199.svg"/><Relationship Id="rId85" Type="http://schemas.openxmlformats.org/officeDocument/2006/relationships/image" Target="../media/image204.png"/><Relationship Id="rId12" Type="http://schemas.openxmlformats.org/officeDocument/2006/relationships/image" Target="../media/image144.svg"/><Relationship Id="rId17" Type="http://schemas.openxmlformats.org/officeDocument/2006/relationships/image" Target="../media/image149.png"/><Relationship Id="rId33" Type="http://schemas.openxmlformats.org/officeDocument/2006/relationships/image" Target="../media/image159.png"/><Relationship Id="rId38" Type="http://schemas.openxmlformats.org/officeDocument/2006/relationships/image" Target="../media/image164.png"/><Relationship Id="rId59" Type="http://schemas.openxmlformats.org/officeDocument/2006/relationships/image" Target="../media/image183.png"/><Relationship Id="rId103" Type="http://schemas.openxmlformats.org/officeDocument/2006/relationships/image" Target="../media/image220.png"/><Relationship Id="rId20" Type="http://schemas.openxmlformats.org/officeDocument/2006/relationships/image" Target="../media/image152.png"/><Relationship Id="rId41" Type="http://schemas.openxmlformats.org/officeDocument/2006/relationships/image" Target="../media/image167.png"/><Relationship Id="rId54" Type="http://schemas.openxmlformats.org/officeDocument/2006/relationships/image" Target="../media/image178.png"/><Relationship Id="rId62" Type="http://schemas.openxmlformats.org/officeDocument/2006/relationships/image" Target="../media/image186.svg"/><Relationship Id="rId70" Type="http://schemas.openxmlformats.org/officeDocument/2006/relationships/image" Target="../media/image190.png"/><Relationship Id="rId75" Type="http://schemas.openxmlformats.org/officeDocument/2006/relationships/image" Target="../media/image194.png"/><Relationship Id="rId83" Type="http://schemas.openxmlformats.org/officeDocument/2006/relationships/image" Target="../media/image202.png"/><Relationship Id="rId88" Type="http://schemas.openxmlformats.org/officeDocument/2006/relationships/image" Target="../media/image207.svg"/><Relationship Id="rId91" Type="http://schemas.openxmlformats.org/officeDocument/2006/relationships/image" Target="../media/image210.png"/><Relationship Id="rId96" Type="http://schemas.openxmlformats.org/officeDocument/2006/relationships/image" Target="../media/image215.png"/><Relationship Id="rId1" Type="http://schemas.openxmlformats.org/officeDocument/2006/relationships/slideLayout" Target="../slideLayouts/slideLayout235.xml"/><Relationship Id="rId6" Type="http://schemas.openxmlformats.org/officeDocument/2006/relationships/image" Target="../media/image139.svg"/><Relationship Id="rId15" Type="http://schemas.openxmlformats.org/officeDocument/2006/relationships/image" Target="../media/image147.png"/><Relationship Id="rId23" Type="http://schemas.openxmlformats.org/officeDocument/2006/relationships/image" Target="../media/image88.png"/><Relationship Id="rId28" Type="http://schemas.openxmlformats.org/officeDocument/2006/relationships/image" Target="../media/image93.png"/><Relationship Id="rId36" Type="http://schemas.openxmlformats.org/officeDocument/2006/relationships/image" Target="../media/image162.png"/><Relationship Id="rId49" Type="http://schemas.openxmlformats.org/officeDocument/2006/relationships/image" Target="../media/image174.svg"/><Relationship Id="rId57" Type="http://schemas.openxmlformats.org/officeDocument/2006/relationships/image" Target="../media/image181.png"/><Relationship Id="rId106" Type="http://schemas.openxmlformats.org/officeDocument/2006/relationships/image" Target="../media/image123.png"/><Relationship Id="rId10" Type="http://schemas.openxmlformats.org/officeDocument/2006/relationships/image" Target="../media/image142.svg"/><Relationship Id="rId31" Type="http://schemas.openxmlformats.org/officeDocument/2006/relationships/image" Target="../media/image157.svg"/><Relationship Id="rId44" Type="http://schemas.openxmlformats.org/officeDocument/2006/relationships/image" Target="../media/image169.svg"/><Relationship Id="rId52" Type="http://schemas.openxmlformats.org/officeDocument/2006/relationships/image" Target="../media/image176.png"/><Relationship Id="rId60" Type="http://schemas.openxmlformats.org/officeDocument/2006/relationships/image" Target="../media/image184.svg"/><Relationship Id="rId65" Type="http://schemas.openxmlformats.org/officeDocument/2006/relationships/image" Target="../media/image189.jpeg"/><Relationship Id="rId73" Type="http://schemas.openxmlformats.org/officeDocument/2006/relationships/image" Target="../media/image192.png"/><Relationship Id="rId78" Type="http://schemas.openxmlformats.org/officeDocument/2006/relationships/image" Target="../media/image197.svg"/><Relationship Id="rId81" Type="http://schemas.openxmlformats.org/officeDocument/2006/relationships/image" Target="../media/image200.png"/><Relationship Id="rId86" Type="http://schemas.openxmlformats.org/officeDocument/2006/relationships/image" Target="../media/image205.svg"/><Relationship Id="rId94" Type="http://schemas.openxmlformats.org/officeDocument/2006/relationships/image" Target="../media/image213.png"/><Relationship Id="rId99" Type="http://schemas.microsoft.com/office/2007/relationships/hdphoto" Target="../media/hdphoto12.wdp"/><Relationship Id="rId101" Type="http://schemas.openxmlformats.org/officeDocument/2006/relationships/image" Target="../media/image218.png"/><Relationship Id="rId4" Type="http://schemas.openxmlformats.org/officeDocument/2006/relationships/image" Target="../media/image137.svg"/><Relationship Id="rId9" Type="http://schemas.openxmlformats.org/officeDocument/2006/relationships/image" Target="../media/image94.png"/><Relationship Id="rId13" Type="http://schemas.openxmlformats.org/officeDocument/2006/relationships/image" Target="../media/image145.png"/><Relationship Id="rId18" Type="http://schemas.openxmlformats.org/officeDocument/2006/relationships/image" Target="../media/image150.png"/><Relationship Id="rId39" Type="http://schemas.openxmlformats.org/officeDocument/2006/relationships/image" Target="../media/image165.png"/><Relationship Id="rId34" Type="http://schemas.openxmlformats.org/officeDocument/2006/relationships/image" Target="../media/image160.png"/><Relationship Id="rId50" Type="http://schemas.openxmlformats.org/officeDocument/2006/relationships/image" Target="../media/image175.png"/><Relationship Id="rId55" Type="http://schemas.openxmlformats.org/officeDocument/2006/relationships/image" Target="../media/image179.png"/><Relationship Id="rId76" Type="http://schemas.openxmlformats.org/officeDocument/2006/relationships/image" Target="../media/image195.svg"/><Relationship Id="rId97" Type="http://schemas.microsoft.com/office/2007/relationships/hdphoto" Target="../media/hdphoto11.wdp"/><Relationship Id="rId104" Type="http://schemas.openxmlformats.org/officeDocument/2006/relationships/image" Target="../media/image221.png"/><Relationship Id="rId7" Type="http://schemas.openxmlformats.org/officeDocument/2006/relationships/image" Target="../media/image140.png"/><Relationship Id="rId71" Type="http://schemas.openxmlformats.org/officeDocument/2006/relationships/image" Target="../media/image112.png"/><Relationship Id="rId92" Type="http://schemas.openxmlformats.org/officeDocument/2006/relationships/image" Target="../media/image211.png"/><Relationship Id="rId2" Type="http://schemas.openxmlformats.org/officeDocument/2006/relationships/notesSlide" Target="../notesSlides/notesSlide15.xml"/><Relationship Id="rId29" Type="http://schemas.openxmlformats.org/officeDocument/2006/relationships/image" Target="../media/image92.png"/><Relationship Id="rId24" Type="http://schemas.openxmlformats.org/officeDocument/2006/relationships/image" Target="../media/image153.png"/><Relationship Id="rId40" Type="http://schemas.openxmlformats.org/officeDocument/2006/relationships/image" Target="../media/image166.png"/><Relationship Id="rId45" Type="http://schemas.openxmlformats.org/officeDocument/2006/relationships/image" Target="../media/image170.png"/><Relationship Id="rId66" Type="http://schemas.openxmlformats.org/officeDocument/2006/relationships/image" Target="../media/image98.png"/><Relationship Id="rId87" Type="http://schemas.openxmlformats.org/officeDocument/2006/relationships/image" Target="../media/image206.png"/><Relationship Id="rId61" Type="http://schemas.openxmlformats.org/officeDocument/2006/relationships/image" Target="../media/image185.png"/><Relationship Id="rId82" Type="http://schemas.openxmlformats.org/officeDocument/2006/relationships/image" Target="../media/image201.svg"/><Relationship Id="rId19" Type="http://schemas.openxmlformats.org/officeDocument/2006/relationships/image" Target="../media/image151.svg"/><Relationship Id="rId14" Type="http://schemas.openxmlformats.org/officeDocument/2006/relationships/image" Target="../media/image146.svg"/><Relationship Id="rId30" Type="http://schemas.openxmlformats.org/officeDocument/2006/relationships/image" Target="../media/image156.png"/><Relationship Id="rId35" Type="http://schemas.openxmlformats.org/officeDocument/2006/relationships/image" Target="../media/image161.png"/><Relationship Id="rId56" Type="http://schemas.openxmlformats.org/officeDocument/2006/relationships/image" Target="../media/image180.svg"/><Relationship Id="rId77" Type="http://schemas.openxmlformats.org/officeDocument/2006/relationships/image" Target="../media/image196.png"/><Relationship Id="rId100" Type="http://schemas.openxmlformats.org/officeDocument/2006/relationships/image" Target="../media/image217.png"/><Relationship Id="rId105" Type="http://schemas.microsoft.com/office/2007/relationships/hdphoto" Target="../media/hdphoto13.wdp"/><Relationship Id="rId8" Type="http://schemas.openxmlformats.org/officeDocument/2006/relationships/image" Target="../media/image141.svg"/><Relationship Id="rId51" Type="http://schemas.microsoft.com/office/2007/relationships/hdphoto" Target="../media/hdphoto10.wdp"/><Relationship Id="rId72" Type="http://schemas.openxmlformats.org/officeDocument/2006/relationships/image" Target="../media/image191.svg"/><Relationship Id="rId93" Type="http://schemas.openxmlformats.org/officeDocument/2006/relationships/image" Target="../media/image212.svg"/><Relationship Id="rId98" Type="http://schemas.openxmlformats.org/officeDocument/2006/relationships/image" Target="../media/image216.png"/><Relationship Id="rId3" Type="http://schemas.openxmlformats.org/officeDocument/2006/relationships/image" Target="../media/image136.png"/><Relationship Id="rId25" Type="http://schemas.openxmlformats.org/officeDocument/2006/relationships/image" Target="../media/image154.png"/><Relationship Id="rId46" Type="http://schemas.openxmlformats.org/officeDocument/2006/relationships/image" Target="../media/image171.png"/><Relationship Id="rId67" Type="http://schemas.openxmlformats.org/officeDocument/2006/relationships/image" Target="../media/image99.svg"/></Relationships>
</file>

<file path=ppt/slides/_rels/slide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3.png"/><Relationship Id="rId7" Type="http://schemas.openxmlformats.org/officeDocument/2006/relationships/hyperlink" Target="https://learn.microsoft.com/en-us/microsoft-copilot-studio/nlu-generative-answers-azure-openai" TargetMode="External"/><Relationship Id="rId2" Type="http://schemas.openxmlformats.org/officeDocument/2006/relationships/notesSlide" Target="../notesSlides/notesSlide16.xml"/><Relationship Id="rId1" Type="http://schemas.openxmlformats.org/officeDocument/2006/relationships/slideLayout" Target="../slideLayouts/slideLayout162.xml"/><Relationship Id="rId6" Type="http://schemas.openxmlformats.org/officeDocument/2006/relationships/image" Target="../media/image225.svg"/><Relationship Id="rId5" Type="http://schemas.openxmlformats.org/officeDocument/2006/relationships/image" Target="../media/image119.png"/><Relationship Id="rId4" Type="http://schemas.openxmlformats.org/officeDocument/2006/relationships/image" Target="../media/image224.sv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19.xml"/><Relationship Id="rId1" Type="http://schemas.openxmlformats.org/officeDocument/2006/relationships/themeOverride" Target="../theme/themeOverride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4" Type="http://schemas.openxmlformats.org/officeDocument/2006/relationships/hyperlink" Target="https://github.com/Boykai/octo-microhack-agentic-ai"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48.xml"/><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33.xml.rels><?xml version="1.0" encoding="UTF-8" standalone="yes"?>
<Relationships xmlns="http://schemas.openxmlformats.org/package/2006/relationships"><Relationship Id="rId8" Type="http://schemas.openxmlformats.org/officeDocument/2006/relationships/image" Target="../media/image231.png"/><Relationship Id="rId3" Type="http://schemas.openxmlformats.org/officeDocument/2006/relationships/image" Target="../media/image227.png"/><Relationship Id="rId7" Type="http://schemas.openxmlformats.org/officeDocument/2006/relationships/image" Target="../media/image230.svg"/><Relationship Id="rId12" Type="http://schemas.openxmlformats.org/officeDocument/2006/relationships/image" Target="../media/image235.pn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229.png"/><Relationship Id="rId11" Type="http://schemas.openxmlformats.org/officeDocument/2006/relationships/image" Target="../media/image234.jpeg"/><Relationship Id="rId5" Type="http://schemas.openxmlformats.org/officeDocument/2006/relationships/image" Target="../media/image228.png"/><Relationship Id="rId10" Type="http://schemas.openxmlformats.org/officeDocument/2006/relationships/image" Target="../media/image233.png"/><Relationship Id="rId4" Type="http://schemas.openxmlformats.org/officeDocument/2006/relationships/image" Target="../media/image85.png"/><Relationship Id="rId9" Type="http://schemas.openxmlformats.org/officeDocument/2006/relationships/image" Target="../media/image232.svg"/></Relationships>
</file>

<file path=ppt/slides/_rels/slide34.xml.rels><?xml version="1.0" encoding="UTF-8" standalone="yes"?>
<Relationships xmlns="http://schemas.openxmlformats.org/package/2006/relationships"><Relationship Id="rId8" Type="http://schemas.openxmlformats.org/officeDocument/2006/relationships/image" Target="../media/image234.jpeg"/><Relationship Id="rId3" Type="http://schemas.openxmlformats.org/officeDocument/2006/relationships/image" Target="../media/image229.png"/><Relationship Id="rId7" Type="http://schemas.openxmlformats.org/officeDocument/2006/relationships/image" Target="../media/image233.png"/><Relationship Id="rId12" Type="http://schemas.openxmlformats.org/officeDocument/2006/relationships/image" Target="../media/image120.svg"/><Relationship Id="rId2" Type="http://schemas.openxmlformats.org/officeDocument/2006/relationships/notesSlide" Target="../notesSlides/notesSlide24.xml"/><Relationship Id="rId1" Type="http://schemas.openxmlformats.org/officeDocument/2006/relationships/slideLayout" Target="../slideLayouts/slideLayout48.xml"/><Relationship Id="rId6" Type="http://schemas.openxmlformats.org/officeDocument/2006/relationships/image" Target="../media/image232.svg"/><Relationship Id="rId11" Type="http://schemas.openxmlformats.org/officeDocument/2006/relationships/image" Target="../media/image119.png"/><Relationship Id="rId5" Type="http://schemas.openxmlformats.org/officeDocument/2006/relationships/image" Target="../media/image231.png"/><Relationship Id="rId10" Type="http://schemas.openxmlformats.org/officeDocument/2006/relationships/image" Target="../media/image90.svg"/><Relationship Id="rId4" Type="http://schemas.openxmlformats.org/officeDocument/2006/relationships/image" Target="../media/image230.svg"/><Relationship Id="rId9" Type="http://schemas.openxmlformats.org/officeDocument/2006/relationships/image" Target="../media/image89.png"/></Relationships>
</file>

<file path=ppt/slides/_rels/slide35.xml.rels><?xml version="1.0" encoding="UTF-8" standalone="yes"?>
<Relationships xmlns="http://schemas.openxmlformats.org/package/2006/relationships"><Relationship Id="rId8" Type="http://schemas.openxmlformats.org/officeDocument/2006/relationships/image" Target="../media/image234.jpeg"/><Relationship Id="rId13" Type="http://schemas.openxmlformats.org/officeDocument/2006/relationships/image" Target="../media/image236.png"/><Relationship Id="rId3" Type="http://schemas.openxmlformats.org/officeDocument/2006/relationships/image" Target="../media/image229.png"/><Relationship Id="rId7" Type="http://schemas.openxmlformats.org/officeDocument/2006/relationships/image" Target="../media/image233.png"/><Relationship Id="rId12" Type="http://schemas.openxmlformats.org/officeDocument/2006/relationships/image" Target="../media/image120.svg"/><Relationship Id="rId2" Type="http://schemas.openxmlformats.org/officeDocument/2006/relationships/notesSlide" Target="../notesSlides/notesSlide25.xml"/><Relationship Id="rId1" Type="http://schemas.openxmlformats.org/officeDocument/2006/relationships/slideLayout" Target="../slideLayouts/slideLayout48.xml"/><Relationship Id="rId6" Type="http://schemas.openxmlformats.org/officeDocument/2006/relationships/image" Target="../media/image232.svg"/><Relationship Id="rId11" Type="http://schemas.openxmlformats.org/officeDocument/2006/relationships/image" Target="../media/image119.png"/><Relationship Id="rId5" Type="http://schemas.openxmlformats.org/officeDocument/2006/relationships/image" Target="../media/image231.png"/><Relationship Id="rId15" Type="http://schemas.openxmlformats.org/officeDocument/2006/relationships/image" Target="../media/image237.svg"/><Relationship Id="rId10" Type="http://schemas.openxmlformats.org/officeDocument/2006/relationships/image" Target="../media/image90.svg"/><Relationship Id="rId4" Type="http://schemas.openxmlformats.org/officeDocument/2006/relationships/image" Target="../media/image230.svg"/><Relationship Id="rId9" Type="http://schemas.openxmlformats.org/officeDocument/2006/relationships/image" Target="../media/image89.png"/><Relationship Id="rId14" Type="http://schemas.openxmlformats.org/officeDocument/2006/relationships/image" Target="../media/image140.png"/></Relationships>
</file>

<file path=ppt/slides/_rels/slide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48.xml"/><Relationship Id="rId6" Type="http://schemas.openxmlformats.org/officeDocument/2006/relationships/image" Target="../media/image63.png"/><Relationship Id="rId5" Type="http://schemas.openxmlformats.org/officeDocument/2006/relationships/image" Target="../media/image64.png"/><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image" Target="../media/image68.png"/><Relationship Id="rId7" Type="http://schemas.openxmlformats.org/officeDocument/2006/relationships/image" Target="../media/image65.png"/><Relationship Id="rId12"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71.svg"/><Relationship Id="rId11" Type="http://schemas.openxmlformats.org/officeDocument/2006/relationships/image" Target="../media/image75.svg"/><Relationship Id="rId5" Type="http://schemas.openxmlformats.org/officeDocument/2006/relationships/image" Target="../media/image70.png"/><Relationship Id="rId10" Type="http://schemas.openxmlformats.org/officeDocument/2006/relationships/image" Target="../media/image74.png"/><Relationship Id="rId4" Type="http://schemas.openxmlformats.org/officeDocument/2006/relationships/image" Target="../media/image69.svg"/><Relationship Id="rId9" Type="http://schemas.openxmlformats.org/officeDocument/2006/relationships/image" Target="../media/image73.svg"/></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a:lstStyle/>
          <a:p>
            <a:r>
              <a:rPr kumimoji="0" lang="en-US" sz="2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gentic AI</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1051248" y="1855851"/>
            <a:ext cx="5660701" cy="27699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vest in yourself.  This is your training and your dedicated time for training.  Make the most of i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tribute to the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You can finish in the time allotted, but you will need the time and group collaboration in order to fini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5578582" y="449097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011086" y="5002150"/>
            <a:ext cx="5072479"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ave your team for extended periods o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Give up (ask if you need help).</a:t>
            </a: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Customer Scenario | Contoso</a:t>
            </a: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is Contoso?</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1051248" y="1855851"/>
            <a:ext cx="5660701" cy="12311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Outdoors sporting goods compan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Enormous product portfoli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Rapidly growing product ecosyst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Extensive product sales data in relational store</a:t>
            </a: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567080" y="3771043"/>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is Contoso trying to accomplis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999584" y="4282218"/>
            <a:ext cx="5072479" cy="215443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solidate product catalo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treamline and modernize product documen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crease ease-of-use of products catalog understanding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crease ease-of-use of products sales data</a:t>
            </a: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4" name="Rounded Rectangle 34">
            <a:extLst>
              <a:ext uri="{FF2B5EF4-FFF2-40B4-BE49-F238E27FC236}">
                <a16:creationId xmlns:a16="http://schemas.microsoft.com/office/drawing/2014/main" id="{0B696F8F-BCFF-A65F-DCFA-6FD8867400E7}"/>
              </a:ext>
              <a:ext uri="{C183D7F6-B498-43B3-948B-1728B52AA6E4}">
                <adec:decorative xmlns:adec="http://schemas.microsoft.com/office/drawing/2017/decorative" val="1"/>
              </a:ext>
            </a:extLst>
          </p:cNvPr>
          <p:cNvSpPr/>
          <p:nvPr/>
        </p:nvSpPr>
        <p:spPr bwMode="auto">
          <a:xfrm>
            <a:off x="973901" y="1597331"/>
            <a:ext cx="10244198" cy="3663339"/>
          </a:xfrm>
          <a:prstGeom prst="roundRect">
            <a:avLst>
              <a:gd name="adj" fmla="val 6454"/>
            </a:avLst>
          </a:prstGeom>
          <a:solidFill>
            <a:srgbClr val="F9F9F9">
              <a:alpha val="70000"/>
            </a:srgbClr>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 name="Rounded Rectangle 8">
            <a:extLst>
              <a:ext uri="{FF2B5EF4-FFF2-40B4-BE49-F238E27FC236}">
                <a16:creationId xmlns:a16="http://schemas.microsoft.com/office/drawing/2014/main" id="{4D993F92-E201-FDF5-53ED-A393FCFAC162}"/>
              </a:ext>
              <a:ext uri="{C183D7F6-B498-43B3-948B-1728B52AA6E4}">
                <adec:decorative xmlns:adec="http://schemas.microsoft.com/office/drawing/2017/decorative" val="1"/>
              </a:ext>
            </a:extLst>
          </p:cNvPr>
          <p:cNvSpPr>
            <a:spLocks/>
          </p:cNvSpPr>
          <p:nvPr/>
        </p:nvSpPr>
        <p:spPr bwMode="auto">
          <a:xfrm>
            <a:off x="1121844" y="1742303"/>
            <a:ext cx="9948312" cy="3373394"/>
          </a:xfrm>
          <a:prstGeom prst="roundRect">
            <a:avLst>
              <a:gd name="adj" fmla="val 4412"/>
            </a:avLst>
          </a:prstGeom>
          <a:solidFill>
            <a:srgbClr val="FFFFFF">
              <a:alpha val="94098"/>
            </a:srgbClr>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0" i="0" u="none" strike="noStrike" kern="1200" cap="none" spc="0" normalizeH="0" baseline="0" noProof="0">
              <a:ln>
                <a:noFill/>
              </a:ln>
              <a:solidFill>
                <a:srgbClr val="49C5B1"/>
              </a:solidFill>
              <a:effectLst/>
              <a:uLnTx/>
              <a:uFillTx/>
              <a:latin typeface="Segoe Sans Text Semilight"/>
              <a:ea typeface="+mn-ea"/>
              <a:cs typeface="Segoe UI" pitchFamily="34" charset="0"/>
            </a:endParaRPr>
          </a:p>
        </p:txBody>
      </p:sp>
      <p:sp>
        <p:nvSpPr>
          <p:cNvPr id="45" name="Text Placeholder 3">
            <a:extLst>
              <a:ext uri="{FF2B5EF4-FFF2-40B4-BE49-F238E27FC236}">
                <a16:creationId xmlns:a16="http://schemas.microsoft.com/office/drawing/2014/main" id="{9BD388FD-5DE0-6D2E-09D9-DFF5FE02B146}"/>
              </a:ext>
            </a:extLst>
          </p:cNvPr>
          <p:cNvSpPr>
            <a:spLocks noGrp="1"/>
          </p:cNvSpPr>
          <p:nvPr/>
        </p:nvSpPr>
        <p:spPr>
          <a:xfrm>
            <a:off x="1588694" y="3171493"/>
            <a:ext cx="9264744"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lumMod val="85000"/>
                    <a:lumOff val="15000"/>
                  </a:srgbClr>
                </a:solidFill>
                <a:effectLst/>
                <a:uLnTx/>
                <a:uFillTx/>
                <a:latin typeface="Segoe UI"/>
                <a:ea typeface="+mn-ea"/>
                <a:cs typeface="Segoe UI" panose="020B0502040204020203" pitchFamily="34" charset="0"/>
              </a:rPr>
              <a:t>Agents that use AI to automate and execute business processes, nearly autonomously. They can plan and </a:t>
            </a:r>
            <a:br>
              <a:rPr kumimoji="0" lang="en-US" sz="2800" b="0" i="0" u="none" strike="noStrike" kern="1200" cap="none" spc="0" normalizeH="0" baseline="0" noProof="0">
                <a:ln>
                  <a:noFill/>
                </a:ln>
                <a:solidFill>
                  <a:srgbClr val="000000">
                    <a:lumMod val="85000"/>
                    <a:lumOff val="15000"/>
                  </a:srgbClr>
                </a:solidFill>
                <a:effectLst/>
                <a:uLnTx/>
                <a:uFillTx/>
                <a:latin typeface="Segoe UI"/>
                <a:ea typeface="+mn-ea"/>
                <a:cs typeface="Segoe UI" panose="020B0502040204020203" pitchFamily="34" charset="0"/>
              </a:rPr>
            </a:br>
            <a:r>
              <a:rPr kumimoji="0" lang="en-US" sz="2800" b="0" i="0" u="none" strike="noStrike" kern="1200" cap="none" spc="0" normalizeH="0" baseline="0" noProof="0">
                <a:ln>
                  <a:noFill/>
                </a:ln>
                <a:solidFill>
                  <a:srgbClr val="000000">
                    <a:lumMod val="85000"/>
                    <a:lumOff val="15000"/>
                  </a:srgbClr>
                </a:solidFill>
                <a:effectLst/>
                <a:uLnTx/>
                <a:uFillTx/>
                <a:latin typeface="Segoe UI"/>
                <a:ea typeface="+mn-ea"/>
                <a:cs typeface="Segoe UI" panose="020B0502040204020203" pitchFamily="34" charset="0"/>
              </a:rPr>
              <a:t>adapt to new information and act on tasks independently.</a:t>
            </a:r>
          </a:p>
        </p:txBody>
      </p:sp>
      <p:sp>
        <p:nvSpPr>
          <p:cNvPr id="3" name="Title 1">
            <a:extLst>
              <a:ext uri="{FF2B5EF4-FFF2-40B4-BE49-F238E27FC236}">
                <a16:creationId xmlns:a16="http://schemas.microsoft.com/office/drawing/2014/main" id="{05CDD0A0-6FC8-770A-E990-345796E999D0}"/>
              </a:ext>
            </a:extLst>
          </p:cNvPr>
          <p:cNvSpPr txBox="1">
            <a:spLocks noGrp="1"/>
          </p:cNvSpPr>
          <p:nvPr>
            <p:ph type="title"/>
          </p:nvPr>
        </p:nvSpPr>
        <p:spPr>
          <a:xfrm>
            <a:off x="1588694" y="2192256"/>
            <a:ext cx="8103685"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Sans Text" pitchFamily="2" charset="0"/>
              </a:rPr>
              <a:t>What is Agentic AI?</a:t>
            </a:r>
          </a:p>
        </p:txBody>
      </p:sp>
    </p:spTree>
    <p:extLst>
      <p:ext uri="{BB962C8B-B14F-4D97-AF65-F5344CB8AC3E}">
        <p14:creationId xmlns:p14="http://schemas.microsoft.com/office/powerpoint/2010/main" val="2040935424"/>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33FE966F-15D6-FCA9-8CC4-4C742FB328E2}"/>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44E4D76-50A7-64F0-303B-E67DDC4004E1}"/>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2392817-DFA3-F674-F2F9-B080125EC59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itle 1">
            <a:extLst>
              <a:ext uri="{FF2B5EF4-FFF2-40B4-BE49-F238E27FC236}">
                <a16:creationId xmlns:a16="http://schemas.microsoft.com/office/drawing/2014/main" id="{E2FAB311-B218-5391-3437-E1D7498BC76B}"/>
              </a:ext>
            </a:extLst>
          </p:cNvPr>
          <p:cNvSpPr txBox="1">
            <a:spLocks/>
          </p:cNvSpPr>
          <p:nvPr/>
        </p:nvSpPr>
        <p:spPr>
          <a:xfrm>
            <a:off x="442439" y="2179457"/>
            <a:ext cx="2566416" cy="67710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sz="4400">
                <a:solidFill>
                  <a:schemeClr val="bg1"/>
                </a:solidFill>
              </a:rPr>
              <a:t>AI Agents</a:t>
            </a:r>
          </a:p>
        </p:txBody>
      </p:sp>
      <p:sp>
        <p:nvSpPr>
          <p:cNvPr id="3" name="Text Placeholder 3">
            <a:extLst>
              <a:ext uri="{FF2B5EF4-FFF2-40B4-BE49-F238E27FC236}">
                <a16:creationId xmlns:a16="http://schemas.microsoft.com/office/drawing/2014/main" id="{0990D097-D0F0-96FD-5AB3-3546FD0AB3E3}"/>
              </a:ext>
            </a:extLst>
          </p:cNvPr>
          <p:cNvSpPr>
            <a:spLocks noGrp="1"/>
          </p:cNvSpPr>
          <p:nvPr/>
        </p:nvSpPr>
        <p:spPr>
          <a:xfrm>
            <a:off x="442439" y="2856565"/>
            <a:ext cx="5282791" cy="160043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nlike existing automation,</a:t>
            </a:r>
            <a:b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br>
            <a:r>
              <a:rPr kumimoji="0" lang="en-US" sz="28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I Agents can automate requests as soon as they come in by…</a:t>
            </a:r>
          </a:p>
        </p:txBody>
      </p:sp>
      <p:sp>
        <p:nvSpPr>
          <p:cNvPr id="7" name="Rounded Rectangle 8">
            <a:extLst>
              <a:ext uri="{FF2B5EF4-FFF2-40B4-BE49-F238E27FC236}">
                <a16:creationId xmlns:a16="http://schemas.microsoft.com/office/drawing/2014/main" id="{453F29B4-AFC3-F3A4-764C-80E16ADEE18E}"/>
              </a:ext>
              <a:ext uri="{C183D7F6-B498-43B3-948B-1728B52AA6E4}">
                <adec:decorative xmlns:adec="http://schemas.microsoft.com/office/drawing/2017/decorative" val="1"/>
              </a:ext>
            </a:extLst>
          </p:cNvPr>
          <p:cNvSpPr/>
          <p:nvPr/>
        </p:nvSpPr>
        <p:spPr bwMode="auto">
          <a:xfrm>
            <a:off x="6385415" y="3914805"/>
            <a:ext cx="4655411" cy="748495"/>
          </a:xfrm>
          <a:prstGeom prst="roundRect">
            <a:avLst>
              <a:gd name="adj" fmla="val 4267"/>
            </a:avLst>
          </a:prstGeom>
          <a:solidFill>
            <a:schemeClr val="bg1"/>
          </a:solidFill>
          <a:ln w="19050">
            <a:gradFill flip="none" rotWithShape="1">
              <a:gsLst>
                <a:gs pos="0">
                  <a:schemeClr val="accent1"/>
                </a:gs>
                <a:gs pos="100000">
                  <a:schemeClr val="accent3"/>
                </a:gs>
              </a:gsLst>
              <a:lin ang="2700000" scaled="1"/>
              <a:tileRect/>
            </a:gra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sp>
        <p:nvSpPr>
          <p:cNvPr id="8" name="Rounded Rectangle 8">
            <a:extLst>
              <a:ext uri="{FF2B5EF4-FFF2-40B4-BE49-F238E27FC236}">
                <a16:creationId xmlns:a16="http://schemas.microsoft.com/office/drawing/2014/main" id="{AF2AAE1B-F0E3-64A2-889E-C43E8BD545C9}"/>
              </a:ext>
              <a:ext uri="{C183D7F6-B498-43B3-948B-1728B52AA6E4}">
                <adec:decorative xmlns:adec="http://schemas.microsoft.com/office/drawing/2017/decorative" val="1"/>
              </a:ext>
            </a:extLst>
          </p:cNvPr>
          <p:cNvSpPr/>
          <p:nvPr/>
        </p:nvSpPr>
        <p:spPr bwMode="auto">
          <a:xfrm>
            <a:off x="6385415" y="3027898"/>
            <a:ext cx="4655411" cy="748495"/>
          </a:xfrm>
          <a:prstGeom prst="roundRect">
            <a:avLst>
              <a:gd name="adj" fmla="val 4267"/>
            </a:avLst>
          </a:prstGeom>
          <a:solidFill>
            <a:schemeClr val="bg1"/>
          </a:solidFill>
          <a:ln w="19050">
            <a:gradFill flip="none" rotWithShape="1">
              <a:gsLst>
                <a:gs pos="0">
                  <a:schemeClr val="accent6"/>
                </a:gs>
                <a:gs pos="100000">
                  <a:schemeClr val="tx2"/>
                </a:gs>
              </a:gsLst>
              <a:lin ang="2700000" scaled="1"/>
              <a:tileRect/>
            </a:grad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Sans Text" pitchFamily="2" charset="0"/>
            </a:endParaRPr>
          </a:p>
        </p:txBody>
      </p:sp>
      <p:grpSp>
        <p:nvGrpSpPr>
          <p:cNvPr id="9" name="Group 8">
            <a:extLst>
              <a:ext uri="{FF2B5EF4-FFF2-40B4-BE49-F238E27FC236}">
                <a16:creationId xmlns:a16="http://schemas.microsoft.com/office/drawing/2014/main" id="{25E61FB4-5569-1DA0-2DE0-638860E8EBD1}"/>
              </a:ext>
            </a:extLst>
          </p:cNvPr>
          <p:cNvGrpSpPr/>
          <p:nvPr/>
        </p:nvGrpSpPr>
        <p:grpSpPr>
          <a:xfrm>
            <a:off x="6476250" y="3103003"/>
            <a:ext cx="564586" cy="566928"/>
            <a:chOff x="3765346" y="5612755"/>
            <a:chExt cx="564586" cy="566928"/>
          </a:xfrm>
        </p:grpSpPr>
        <p:sp>
          <p:nvSpPr>
            <p:cNvPr id="10" name="Grey oval containing warning">
              <a:extLst>
                <a:ext uri="{FF2B5EF4-FFF2-40B4-BE49-F238E27FC236}">
                  <a16:creationId xmlns:a16="http://schemas.microsoft.com/office/drawing/2014/main" id="{F37FA21A-FA14-B601-6C2B-6A0B431D3809}"/>
                </a:ext>
                <a:ext uri="{C183D7F6-B498-43B3-948B-1728B52AA6E4}">
                  <adec:decorative xmlns:adec="http://schemas.microsoft.com/office/drawing/2017/decorative" val="1"/>
                </a:ext>
              </a:extLst>
            </p:cNvPr>
            <p:cNvSpPr>
              <a:spLocks noChangeAspect="1"/>
            </p:cNvSpPr>
            <p:nvPr/>
          </p:nvSpPr>
          <p:spPr>
            <a:xfrm>
              <a:off x="3765346" y="5612755"/>
              <a:ext cx="564586" cy="566928"/>
            </a:xfrm>
            <a:prstGeom prst="ellipse">
              <a:avLst/>
            </a:prstGeom>
            <a:gradFill>
              <a:gsLst>
                <a:gs pos="0">
                  <a:schemeClr val="accent6"/>
                </a:gs>
                <a:gs pos="100000">
                  <a:schemeClr val="accent1"/>
                </a:gs>
              </a:gsLst>
              <a:lin ang="2700000" scaled="0"/>
            </a:gradFill>
            <a:ln w="12700">
              <a:noFill/>
              <a:miter lim="400000"/>
            </a:ln>
            <a:effectLst>
              <a:outerShdw blurRad="127000" dist="38100" dir="2700000" algn="tl" rotWithShape="0">
                <a:schemeClr val="tx1">
                  <a:alpha val="2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ea typeface="+mn-ea"/>
                <a:cs typeface="Segoe Sans Text" pitchFamily="2" charset="0"/>
                <a:sym typeface="Segoe UI Semilight"/>
              </a:endParaRPr>
            </a:p>
          </p:txBody>
        </p:sp>
        <p:pic>
          <p:nvPicPr>
            <p:cNvPr id="12" name="Graphic 11">
              <a:extLst>
                <a:ext uri="{FF2B5EF4-FFF2-40B4-BE49-F238E27FC236}">
                  <a16:creationId xmlns:a16="http://schemas.microsoft.com/office/drawing/2014/main" id="{798667E5-FDB0-3EE7-56F4-B29C75916B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70538" y="5719118"/>
              <a:ext cx="354202" cy="354202"/>
            </a:xfrm>
            <a:prstGeom prst="rect">
              <a:avLst/>
            </a:prstGeom>
          </p:spPr>
        </p:pic>
      </p:grpSp>
      <p:grpSp>
        <p:nvGrpSpPr>
          <p:cNvPr id="13" name="Group 12">
            <a:extLst>
              <a:ext uri="{FF2B5EF4-FFF2-40B4-BE49-F238E27FC236}">
                <a16:creationId xmlns:a16="http://schemas.microsoft.com/office/drawing/2014/main" id="{843C27CD-7905-3000-B1F6-E3BE33AEFEE0}"/>
              </a:ext>
            </a:extLst>
          </p:cNvPr>
          <p:cNvGrpSpPr/>
          <p:nvPr/>
        </p:nvGrpSpPr>
        <p:grpSpPr>
          <a:xfrm>
            <a:off x="6480527" y="3991985"/>
            <a:ext cx="564586" cy="566928"/>
            <a:chOff x="3095568" y="5612755"/>
            <a:chExt cx="564586" cy="566928"/>
          </a:xfrm>
        </p:grpSpPr>
        <p:sp>
          <p:nvSpPr>
            <p:cNvPr id="14" name="Grey oval containing warning">
              <a:extLst>
                <a:ext uri="{FF2B5EF4-FFF2-40B4-BE49-F238E27FC236}">
                  <a16:creationId xmlns:a16="http://schemas.microsoft.com/office/drawing/2014/main" id="{58683744-ED9F-19B2-02EC-A839320E24E6}"/>
                </a:ext>
                <a:ext uri="{C183D7F6-B498-43B3-948B-1728B52AA6E4}">
                  <adec:decorative xmlns:adec="http://schemas.microsoft.com/office/drawing/2017/decorative" val="1"/>
                </a:ext>
              </a:extLst>
            </p:cNvPr>
            <p:cNvSpPr>
              <a:spLocks noChangeAspect="1"/>
            </p:cNvSpPr>
            <p:nvPr/>
          </p:nvSpPr>
          <p:spPr>
            <a:xfrm>
              <a:off x="3095568" y="5612755"/>
              <a:ext cx="564586" cy="566928"/>
            </a:xfrm>
            <a:prstGeom prst="ellipse">
              <a:avLst/>
            </a:prstGeom>
            <a:gradFill>
              <a:gsLst>
                <a:gs pos="0">
                  <a:schemeClr val="accent1"/>
                </a:gs>
                <a:gs pos="100000">
                  <a:schemeClr val="accent3"/>
                </a:gs>
              </a:gsLst>
              <a:lin ang="2700000" scaled="0"/>
            </a:gradFill>
            <a:ln w="12700">
              <a:noFill/>
              <a:miter lim="400000"/>
            </a:ln>
            <a:effectLst>
              <a:outerShdw blurRad="127000" dist="38100" dir="2700000" algn="tl" rotWithShape="0">
                <a:schemeClr val="tx1">
                  <a:alpha val="20000"/>
                </a:schemeClr>
              </a:outerShdw>
            </a:effectLst>
          </p:spPr>
          <p:txBody>
            <a:bodyPr lIns="45699" tIns="45699" rIns="45699" bIns="45699"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31675"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Sans Text" pitchFamily="2" charset="0"/>
                <a:cs typeface="Segoe Sans Text" pitchFamily="2" charset="0"/>
                <a:sym typeface="Segoe UI Semilight"/>
              </a:endParaRPr>
            </a:p>
          </p:txBody>
        </p:sp>
        <p:pic>
          <p:nvPicPr>
            <p:cNvPr id="15" name="Graphic 14">
              <a:extLst>
                <a:ext uri="{FF2B5EF4-FFF2-40B4-BE49-F238E27FC236}">
                  <a16:creationId xmlns:a16="http://schemas.microsoft.com/office/drawing/2014/main" id="{AF697F53-BB43-2F7F-353A-8AD010A979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92163" y="5718306"/>
              <a:ext cx="365761" cy="365761"/>
            </a:xfrm>
            <a:prstGeom prst="rect">
              <a:avLst/>
            </a:prstGeom>
          </p:spPr>
        </p:pic>
      </p:grpSp>
      <p:sp>
        <p:nvSpPr>
          <p:cNvPr id="16" name="Rounded Rectangle 8">
            <a:extLst>
              <a:ext uri="{FF2B5EF4-FFF2-40B4-BE49-F238E27FC236}">
                <a16:creationId xmlns:a16="http://schemas.microsoft.com/office/drawing/2014/main" id="{C34FBABE-8F49-D863-5EE0-EE15CFBBAFAD}"/>
              </a:ext>
              <a:ext uri="{C183D7F6-B498-43B3-948B-1728B52AA6E4}">
                <adec:decorative xmlns:adec="http://schemas.microsoft.com/office/drawing/2017/decorative" val="1"/>
              </a:ext>
            </a:extLst>
          </p:cNvPr>
          <p:cNvSpPr/>
          <p:nvPr/>
        </p:nvSpPr>
        <p:spPr bwMode="auto">
          <a:xfrm>
            <a:off x="6385417" y="2140991"/>
            <a:ext cx="4655411" cy="748495"/>
          </a:xfrm>
          <a:prstGeom prst="roundRect">
            <a:avLst>
              <a:gd name="adj" fmla="val 426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sp>
        <p:nvSpPr>
          <p:cNvPr id="17" name="TextBox 16">
            <a:extLst>
              <a:ext uri="{FF2B5EF4-FFF2-40B4-BE49-F238E27FC236}">
                <a16:creationId xmlns:a16="http://schemas.microsoft.com/office/drawing/2014/main" id="{ACEC3155-D104-8574-BB08-CCF1B64EB84F}"/>
              </a:ext>
            </a:extLst>
          </p:cNvPr>
          <p:cNvSpPr txBox="1"/>
          <p:nvPr/>
        </p:nvSpPr>
        <p:spPr>
          <a:xfrm>
            <a:off x="7125050" y="2327225"/>
            <a:ext cx="39660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0"/>
              </a:spcAft>
              <a:buClrTx/>
              <a:buSzTx/>
              <a:buFont typeface="Wingdings"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asoning over the request</a:t>
            </a:r>
          </a:p>
        </p:txBody>
      </p:sp>
      <p:sp>
        <p:nvSpPr>
          <p:cNvPr id="18" name="TextBox 17">
            <a:extLst>
              <a:ext uri="{FF2B5EF4-FFF2-40B4-BE49-F238E27FC236}">
                <a16:creationId xmlns:a16="http://schemas.microsoft.com/office/drawing/2014/main" id="{27FB70D9-94D0-DE25-5044-33F91F0CD8AA}"/>
              </a:ext>
            </a:extLst>
          </p:cNvPr>
          <p:cNvSpPr txBox="1"/>
          <p:nvPr/>
        </p:nvSpPr>
        <p:spPr>
          <a:xfrm>
            <a:off x="7125049" y="3227010"/>
            <a:ext cx="39660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0"/>
              </a:spcAft>
              <a:buClrTx/>
              <a:buSzTx/>
              <a:buFont typeface="Wingdings"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actively retrieving more context</a:t>
            </a:r>
          </a:p>
        </p:txBody>
      </p:sp>
      <p:sp>
        <p:nvSpPr>
          <p:cNvPr id="19" name="TextBox 18">
            <a:extLst>
              <a:ext uri="{FF2B5EF4-FFF2-40B4-BE49-F238E27FC236}">
                <a16:creationId xmlns:a16="http://schemas.microsoft.com/office/drawing/2014/main" id="{21374D1A-489D-8E8C-08B4-F8980CF09D23}"/>
              </a:ext>
            </a:extLst>
          </p:cNvPr>
          <p:cNvSpPr txBox="1"/>
          <p:nvPr/>
        </p:nvSpPr>
        <p:spPr>
          <a:xfrm>
            <a:off x="7122665" y="4106172"/>
            <a:ext cx="377901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0"/>
              </a:spcAft>
              <a:buClrTx/>
              <a:buSzTx/>
              <a:buFont typeface="Wingdings"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erforming required actions with APIs</a:t>
            </a:r>
          </a:p>
        </p:txBody>
      </p:sp>
      <p:grpSp>
        <p:nvGrpSpPr>
          <p:cNvPr id="20" name="Group 19">
            <a:extLst>
              <a:ext uri="{FF2B5EF4-FFF2-40B4-BE49-F238E27FC236}">
                <a16:creationId xmlns:a16="http://schemas.microsoft.com/office/drawing/2014/main" id="{E36F94CD-CE8B-7A30-CB80-35A212CBC4C3}"/>
              </a:ext>
            </a:extLst>
          </p:cNvPr>
          <p:cNvGrpSpPr/>
          <p:nvPr/>
        </p:nvGrpSpPr>
        <p:grpSpPr>
          <a:xfrm>
            <a:off x="6476250" y="2211266"/>
            <a:ext cx="568863" cy="570472"/>
            <a:chOff x="2281495" y="5697830"/>
            <a:chExt cx="568863" cy="570472"/>
          </a:xfrm>
        </p:grpSpPr>
        <p:sp>
          <p:nvSpPr>
            <p:cNvPr id="21" name="Rounded Rectangle 62">
              <a:extLst>
                <a:ext uri="{FF2B5EF4-FFF2-40B4-BE49-F238E27FC236}">
                  <a16:creationId xmlns:a16="http://schemas.microsoft.com/office/drawing/2014/main" id="{509FFD3C-AFD4-2B2C-C217-8C8A632F3FBE}"/>
                </a:ext>
              </a:extLst>
            </p:cNvPr>
            <p:cNvSpPr/>
            <p:nvPr/>
          </p:nvSpPr>
          <p:spPr bwMode="auto">
            <a:xfrm>
              <a:off x="2281495" y="5697830"/>
              <a:ext cx="568863" cy="570472"/>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22" name="Graphic 21">
              <a:extLst>
                <a:ext uri="{FF2B5EF4-FFF2-40B4-BE49-F238E27FC236}">
                  <a16:creationId xmlns:a16="http://schemas.microsoft.com/office/drawing/2014/main" id="{52B37C05-46D1-C236-D11F-053E197DF5B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5170" y="5802310"/>
              <a:ext cx="361512" cy="361512"/>
            </a:xfrm>
            <a:prstGeom prst="rect">
              <a:avLst/>
            </a:prstGeom>
          </p:spPr>
        </p:pic>
      </p:grpSp>
    </p:spTree>
    <p:extLst>
      <p:ext uri="{BB962C8B-B14F-4D97-AF65-F5344CB8AC3E}">
        <p14:creationId xmlns:p14="http://schemas.microsoft.com/office/powerpoint/2010/main" val="237713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7DF2D5D-30F0-BC5D-BB49-5D31C6BDD1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FE2480-803B-3F6C-86F1-182313AB65E0}"/>
              </a:ext>
            </a:extLst>
          </p:cNvPr>
          <p:cNvSpPr>
            <a:spLocks noGrp="1"/>
          </p:cNvSpPr>
          <p:nvPr>
            <p:ph type="title"/>
          </p:nvPr>
        </p:nvSpPr>
        <p:spPr/>
        <p:txBody>
          <a:bodyPr/>
          <a:lstStyle/>
          <a:p>
            <a:r>
              <a:rPr lang="en-US">
                <a:solidFill>
                  <a:schemeClr val="bg1"/>
                </a:solidFill>
              </a:rPr>
              <a:t>Starting point</a:t>
            </a:r>
          </a:p>
        </p:txBody>
      </p:sp>
      <p:sp>
        <p:nvSpPr>
          <p:cNvPr id="3" name="Content Placeholder 2">
            <a:extLst>
              <a:ext uri="{FF2B5EF4-FFF2-40B4-BE49-F238E27FC236}">
                <a16:creationId xmlns:a16="http://schemas.microsoft.com/office/drawing/2014/main" id="{DA21163E-A385-0204-64DF-0BAC21858048}"/>
              </a:ext>
            </a:extLst>
          </p:cNvPr>
          <p:cNvSpPr>
            <a:spLocks noGrp="1"/>
          </p:cNvSpPr>
          <p:nvPr>
            <p:ph idx="1"/>
          </p:nvPr>
        </p:nvSpPr>
        <p:spPr>
          <a:xfrm>
            <a:off x="584200" y="1435503"/>
            <a:ext cx="11018520" cy="861774"/>
          </a:xfrm>
        </p:spPr>
        <p:txBody>
          <a:bodyPr/>
          <a:lstStyle/>
          <a:p>
            <a:r>
              <a:rPr lang="en-US" b="0" i="0">
                <a:solidFill>
                  <a:schemeClr val="bg1"/>
                </a:solidFill>
                <a:effectLst/>
                <a:latin typeface="-apple-system"/>
              </a:rPr>
              <a:t>The first step in designing an AI Agent system is to define the </a:t>
            </a:r>
            <a:r>
              <a:rPr lang="en-US" b="1" i="0">
                <a:solidFill>
                  <a:schemeClr val="bg1"/>
                </a:solidFill>
                <a:effectLst/>
                <a:latin typeface="-apple-system"/>
              </a:rPr>
              <a:t>tools, actions, and behaviors. </a:t>
            </a:r>
            <a:endParaRPr lang="en-US" b="1">
              <a:solidFill>
                <a:schemeClr val="bg1"/>
              </a:solidFill>
            </a:endParaRPr>
          </a:p>
        </p:txBody>
      </p:sp>
      <p:pic>
        <p:nvPicPr>
          <p:cNvPr id="4" name="Picture 3">
            <a:extLst>
              <a:ext uri="{FF2B5EF4-FFF2-40B4-BE49-F238E27FC236}">
                <a16:creationId xmlns:a16="http://schemas.microsoft.com/office/drawing/2014/main" id="{4D3D0733-A231-9435-AB29-1DB6095CFAD5}"/>
              </a:ext>
            </a:extLst>
          </p:cNvPr>
          <p:cNvPicPr>
            <a:picLocks noChangeAspect="1"/>
          </p:cNvPicPr>
          <p:nvPr/>
        </p:nvPicPr>
        <p:blipFill>
          <a:blip r:embed="rId3"/>
          <a:stretch>
            <a:fillRect/>
          </a:stretch>
        </p:blipFill>
        <p:spPr>
          <a:xfrm>
            <a:off x="2110408" y="3106655"/>
            <a:ext cx="7772400" cy="3386220"/>
          </a:xfrm>
          <a:prstGeom prst="rect">
            <a:avLst/>
          </a:prstGeom>
        </p:spPr>
      </p:pic>
    </p:spTree>
    <p:extLst>
      <p:ext uri="{BB962C8B-B14F-4D97-AF65-F5344CB8AC3E}">
        <p14:creationId xmlns:p14="http://schemas.microsoft.com/office/powerpoint/2010/main" val="24048652"/>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688AE67-BD6F-B8F0-8409-8061F26281D4}"/>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DB7BA78C-269C-CA20-56CB-F374467BFFC7}"/>
              </a:ext>
            </a:extLst>
          </p:cNvPr>
          <p:cNvSpPr>
            <a:spLocks noGrp="1"/>
          </p:cNvSpPr>
          <p:nvPr>
            <p:ph type="title"/>
          </p:nvPr>
        </p:nvSpPr>
        <p:spPr>
          <a:xfrm>
            <a:off x="588263" y="457200"/>
            <a:ext cx="11018520" cy="553998"/>
          </a:xfrm>
        </p:spPr>
        <p:txBody>
          <a:bodyPr/>
          <a:lstStyle/>
          <a:p>
            <a:r>
              <a:rPr lang="en-US">
                <a:solidFill>
                  <a:schemeClr val="bg1"/>
                </a:solidFill>
              </a:rPr>
              <a:t>What is an Agent?</a:t>
            </a:r>
          </a:p>
        </p:txBody>
      </p:sp>
      <p:sp>
        <p:nvSpPr>
          <p:cNvPr id="11" name="Oval 10">
            <a:extLst>
              <a:ext uri="{FF2B5EF4-FFF2-40B4-BE49-F238E27FC236}">
                <a16:creationId xmlns:a16="http://schemas.microsoft.com/office/drawing/2014/main" id="{4AC9C4B0-68B2-2E4E-DC08-43CEC202222D}"/>
              </a:ext>
            </a:extLst>
          </p:cNvPr>
          <p:cNvSpPr/>
          <p:nvPr/>
        </p:nvSpPr>
        <p:spPr bwMode="auto">
          <a:xfrm>
            <a:off x="4730979" y="2133052"/>
            <a:ext cx="2730043" cy="2591897"/>
          </a:xfrm>
          <a:prstGeom prst="ellipse">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915D072D-D3E9-70B1-A26B-1E6874861A0F}"/>
              </a:ext>
            </a:extLst>
          </p:cNvPr>
          <p:cNvCxnSpPr>
            <a:cxnSpLocks/>
            <a:stCxn id="11" idx="2"/>
            <a:endCxn id="2" idx="6"/>
          </p:cNvCxnSpPr>
          <p:nvPr/>
        </p:nvCxnSpPr>
        <p:spPr>
          <a:xfrm flipH="1" flipV="1">
            <a:off x="3014487" y="3425843"/>
            <a:ext cx="1716492" cy="3158"/>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910F488-1E22-E8C3-BFFA-80546DBA317E}"/>
              </a:ext>
            </a:extLst>
          </p:cNvPr>
          <p:cNvCxnSpPr>
            <a:cxnSpLocks/>
            <a:stCxn id="11" idx="6"/>
            <a:endCxn id="4" idx="2"/>
          </p:cNvCxnSpPr>
          <p:nvPr/>
        </p:nvCxnSpPr>
        <p:spPr>
          <a:xfrm>
            <a:off x="7461022" y="3429001"/>
            <a:ext cx="1664443" cy="9282"/>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C363596-E5E5-848B-08E4-EEAD00DDAF7E}"/>
              </a:ext>
            </a:extLst>
          </p:cNvPr>
          <p:cNvSpPr txBox="1"/>
          <p:nvPr/>
        </p:nvSpPr>
        <p:spPr>
          <a:xfrm>
            <a:off x="840557" y="4879649"/>
            <a:ext cx="153500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Knowledge</a:t>
            </a:r>
          </a:p>
        </p:txBody>
      </p:sp>
      <p:sp>
        <p:nvSpPr>
          <p:cNvPr id="25" name="TextBox 24">
            <a:extLst>
              <a:ext uri="{FF2B5EF4-FFF2-40B4-BE49-F238E27FC236}">
                <a16:creationId xmlns:a16="http://schemas.microsoft.com/office/drawing/2014/main" id="{EC7644BA-26EC-386B-F8B8-FF8C5F3764C5}"/>
              </a:ext>
            </a:extLst>
          </p:cNvPr>
          <p:cNvSpPr txBox="1"/>
          <p:nvPr/>
        </p:nvSpPr>
        <p:spPr>
          <a:xfrm>
            <a:off x="9759596" y="4885859"/>
            <a:ext cx="153500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ctions</a:t>
            </a:r>
          </a:p>
        </p:txBody>
      </p:sp>
      <p:sp>
        <p:nvSpPr>
          <p:cNvPr id="27" name="TextBox 26">
            <a:extLst>
              <a:ext uri="{FF2B5EF4-FFF2-40B4-BE49-F238E27FC236}">
                <a16:creationId xmlns:a16="http://schemas.microsoft.com/office/drawing/2014/main" id="{A3BA4286-F45B-82A4-B7C1-0914410A2C37}"/>
              </a:ext>
            </a:extLst>
          </p:cNvPr>
          <p:cNvSpPr txBox="1"/>
          <p:nvPr/>
        </p:nvSpPr>
        <p:spPr>
          <a:xfrm>
            <a:off x="5328497" y="4227221"/>
            <a:ext cx="153500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odels</a:t>
            </a:r>
          </a:p>
        </p:txBody>
      </p:sp>
      <p:pic>
        <p:nvPicPr>
          <p:cNvPr id="28" name="!Copilot" descr="A rainbow colored logo on a black background&#10;&#10;Description automatically generated">
            <a:extLst>
              <a:ext uri="{FF2B5EF4-FFF2-40B4-BE49-F238E27FC236}">
                <a16:creationId xmlns:a16="http://schemas.microsoft.com/office/drawing/2014/main" id="{74E58F40-D9F9-56F3-3F64-B6DEE1CBFEEE}"/>
              </a:ext>
            </a:extLst>
          </p:cNvPr>
          <p:cNvPicPr>
            <a:picLocks noChangeAspect="1"/>
          </p:cNvPicPr>
          <p:nvPr/>
        </p:nvPicPr>
        <p:blipFill>
          <a:blip r:embed="rId3"/>
          <a:stretch>
            <a:fillRect/>
          </a:stretch>
        </p:blipFill>
        <p:spPr>
          <a:xfrm>
            <a:off x="4900836" y="3203190"/>
            <a:ext cx="457200" cy="457200"/>
          </a:xfrm>
          <a:prstGeom prst="rect">
            <a:avLst/>
          </a:prstGeom>
          <a:noFill/>
          <a:ln>
            <a:noFill/>
            <a:headEnd type="none" w="med" len="med"/>
            <a:tailEnd type="none" w="med" len="med"/>
          </a:ln>
          <a:effectLst/>
        </p:spPr>
      </p:pic>
      <p:pic>
        <p:nvPicPr>
          <p:cNvPr id="29" name="Picture 28">
            <a:extLst>
              <a:ext uri="{FF2B5EF4-FFF2-40B4-BE49-F238E27FC236}">
                <a16:creationId xmlns:a16="http://schemas.microsoft.com/office/drawing/2014/main" id="{84522B4C-66D2-9C3E-882E-C8A05D42050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794945" y="3260348"/>
            <a:ext cx="355870" cy="355871"/>
          </a:xfrm>
          <a:prstGeom prst="rect">
            <a:avLst/>
          </a:prstGeom>
        </p:spPr>
      </p:pic>
      <p:pic>
        <p:nvPicPr>
          <p:cNvPr id="32" name="Picture 31">
            <a:extLst>
              <a:ext uri="{FF2B5EF4-FFF2-40B4-BE49-F238E27FC236}">
                <a16:creationId xmlns:a16="http://schemas.microsoft.com/office/drawing/2014/main" id="{115CDE1A-1CF6-C657-51D5-FC785988C0A5}"/>
              </a:ext>
              <a:ext uri="{C183D7F6-B498-43B3-948B-1728B52AA6E4}">
                <adec:decorative xmlns:adec="http://schemas.microsoft.com/office/drawing/2017/decorative" val="1"/>
              </a:ext>
            </a:extLst>
          </p:cNvPr>
          <p:cNvPicPr>
            <a:picLocks noChangeAspect="1"/>
          </p:cNvPicPr>
          <p:nvPr/>
        </p:nvPicPr>
        <p:blipFill rotWithShape="1">
          <a:blip r:embed="rId5"/>
          <a:srcRect t="29690" r="63913" b="31491"/>
          <a:stretch/>
        </p:blipFill>
        <p:spPr>
          <a:xfrm>
            <a:off x="5270891" y="2573168"/>
            <a:ext cx="338576" cy="364210"/>
          </a:xfrm>
          <a:prstGeom prst="rect">
            <a:avLst/>
          </a:prstGeom>
        </p:spPr>
      </p:pic>
      <p:pic>
        <p:nvPicPr>
          <p:cNvPr id="33" name="Picture 32">
            <a:extLst>
              <a:ext uri="{FF2B5EF4-FFF2-40B4-BE49-F238E27FC236}">
                <a16:creationId xmlns:a16="http://schemas.microsoft.com/office/drawing/2014/main" id="{D82E2020-3D47-33C0-2BFD-FED0FCDEBEB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530951" y="2621752"/>
            <a:ext cx="359652" cy="239206"/>
          </a:xfrm>
          <a:prstGeom prst="rect">
            <a:avLst/>
          </a:prstGeom>
        </p:spPr>
      </p:pic>
      <p:pic>
        <p:nvPicPr>
          <p:cNvPr id="35" name="Picture 15">
            <a:extLst>
              <a:ext uri="{FF2B5EF4-FFF2-40B4-BE49-F238E27FC236}">
                <a16:creationId xmlns:a16="http://schemas.microsoft.com/office/drawing/2014/main" id="{00F66B9D-F698-0B0B-4DA5-E7A312B09B81}"/>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322" b="-1322"/>
          <a:stretch/>
        </p:blipFill>
        <p:spPr bwMode="auto">
          <a:xfrm>
            <a:off x="5842461" y="3174121"/>
            <a:ext cx="534504" cy="548640"/>
          </a:xfrm>
          <a:prstGeom prst="rect">
            <a:avLst/>
          </a:prstGeom>
          <a:ln>
            <a:noFill/>
          </a:ln>
          <a:extLst>
            <a:ext uri="{53640926-AAD7-44D8-BBD7-CCE9431645EC}">
              <a14:shadowObscured xmlns:a14="http://schemas.microsoft.com/office/drawing/2010/main"/>
            </a:ext>
          </a:extLst>
        </p:spPr>
      </p:pic>
      <p:pic>
        <p:nvPicPr>
          <p:cNvPr id="44" name="Picture 2" descr="Cohere IPO - Investing Pre-IPO">
            <a:extLst>
              <a:ext uri="{FF2B5EF4-FFF2-40B4-BE49-F238E27FC236}">
                <a16:creationId xmlns:a16="http://schemas.microsoft.com/office/drawing/2014/main" id="{BF542646-57A5-A6C5-FF40-B732AEF6754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foregroundMark x1="31013" y1="68313" x2="31013" y2="68313"/>
                        <a14:foregroundMark x1="60338" y1="68313" x2="60338" y2="68313"/>
                        <a14:foregroundMark x1="63924" y1="59259" x2="63924" y2="59259"/>
                        <a14:foregroundMark x1="46203" y1="62551" x2="46203" y2="62551"/>
                      </a14:backgroundRemoval>
                    </a14:imgEffect>
                  </a14:imgLayer>
                </a14:imgProps>
              </a:ext>
              <a:ext uri="{28A0092B-C50C-407E-A947-70E740481C1C}">
                <a14:useLocalDpi xmlns:a14="http://schemas.microsoft.com/office/drawing/2010/main" val="0"/>
              </a:ext>
            </a:extLst>
          </a:blip>
          <a:srcRect/>
          <a:stretch>
            <a:fillRect/>
          </a:stretch>
        </p:blipFill>
        <p:spPr bwMode="auto">
          <a:xfrm>
            <a:off x="5129436" y="3841248"/>
            <a:ext cx="526532" cy="53986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CE3B9D02-7C26-7D74-8481-D62AF616AF5B}"/>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5916173" y="2265664"/>
            <a:ext cx="359652" cy="332079"/>
          </a:xfrm>
          <a:prstGeom prst="rect">
            <a:avLst/>
          </a:prstGeom>
        </p:spPr>
      </p:pic>
      <p:pic>
        <p:nvPicPr>
          <p:cNvPr id="53" name="Picture 2">
            <a:extLst>
              <a:ext uri="{FF2B5EF4-FFF2-40B4-BE49-F238E27FC236}">
                <a16:creationId xmlns:a16="http://schemas.microsoft.com/office/drawing/2014/main" id="{B072F598-405E-8634-02E6-20FA3FE0506E}"/>
              </a:ext>
              <a:ext uri="{C183D7F6-B498-43B3-948B-1728B52AA6E4}">
                <adec:decorative xmlns:adec="http://schemas.microsoft.com/office/drawing/2017/decorative" val="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0477" t="36119" r="75600" b="36385"/>
          <a:stretch/>
        </p:blipFill>
        <p:spPr bwMode="auto">
          <a:xfrm>
            <a:off x="6656534" y="3908042"/>
            <a:ext cx="361190" cy="377851"/>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Arrow Connector 53">
            <a:extLst>
              <a:ext uri="{FF2B5EF4-FFF2-40B4-BE49-F238E27FC236}">
                <a16:creationId xmlns:a16="http://schemas.microsoft.com/office/drawing/2014/main" id="{03C6F8E1-D2A9-5FD5-B372-3CCAB0533000}"/>
              </a:ext>
            </a:extLst>
          </p:cNvPr>
          <p:cNvCxnSpPr>
            <a:cxnSpLocks/>
            <a:stCxn id="11" idx="4"/>
            <a:endCxn id="61" idx="0"/>
          </p:cNvCxnSpPr>
          <p:nvPr/>
        </p:nvCxnSpPr>
        <p:spPr>
          <a:xfrm>
            <a:off x="6096001" y="4724949"/>
            <a:ext cx="18984" cy="1477851"/>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D497E08-E154-AC42-308F-E7709989AE1F}"/>
              </a:ext>
            </a:extLst>
          </p:cNvPr>
          <p:cNvSpPr txBox="1"/>
          <p:nvPr/>
        </p:nvSpPr>
        <p:spPr>
          <a:xfrm>
            <a:off x="5347482" y="6202800"/>
            <a:ext cx="1535005"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Trigg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utomation)</a:t>
            </a:r>
          </a:p>
        </p:txBody>
      </p:sp>
      <p:sp>
        <p:nvSpPr>
          <p:cNvPr id="2" name="Oval 1">
            <a:extLst>
              <a:ext uri="{FF2B5EF4-FFF2-40B4-BE49-F238E27FC236}">
                <a16:creationId xmlns:a16="http://schemas.microsoft.com/office/drawing/2014/main" id="{3501D9AA-B53D-2C14-358E-ADCC8E46525C}"/>
              </a:ext>
            </a:extLst>
          </p:cNvPr>
          <p:cNvSpPr/>
          <p:nvPr/>
        </p:nvSpPr>
        <p:spPr bwMode="auto">
          <a:xfrm>
            <a:off x="284444" y="2129894"/>
            <a:ext cx="2730043" cy="2591897"/>
          </a:xfrm>
          <a:prstGeom prst="ellipse">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4" name="Oval 3">
            <a:extLst>
              <a:ext uri="{FF2B5EF4-FFF2-40B4-BE49-F238E27FC236}">
                <a16:creationId xmlns:a16="http://schemas.microsoft.com/office/drawing/2014/main" id="{87136778-44DB-6AC5-1533-E29A66522BCB}"/>
              </a:ext>
            </a:extLst>
          </p:cNvPr>
          <p:cNvSpPr/>
          <p:nvPr/>
        </p:nvSpPr>
        <p:spPr bwMode="auto">
          <a:xfrm>
            <a:off x="9125465" y="2142334"/>
            <a:ext cx="2730043" cy="2591897"/>
          </a:xfrm>
          <a:prstGeom prst="ellipse">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7" name="Graphic 6">
            <a:extLst>
              <a:ext uri="{FF2B5EF4-FFF2-40B4-BE49-F238E27FC236}">
                <a16:creationId xmlns:a16="http://schemas.microsoft.com/office/drawing/2014/main" id="{E5ADF2F3-0685-3034-679B-AE2A1351BA4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2817" y="2469666"/>
            <a:ext cx="356616" cy="356616"/>
          </a:xfrm>
          <a:prstGeom prst="rect">
            <a:avLst/>
          </a:prstGeom>
        </p:spPr>
      </p:pic>
      <p:pic>
        <p:nvPicPr>
          <p:cNvPr id="14" name="Graphic 13">
            <a:extLst>
              <a:ext uri="{FF2B5EF4-FFF2-40B4-BE49-F238E27FC236}">
                <a16:creationId xmlns:a16="http://schemas.microsoft.com/office/drawing/2014/main" id="{8F978183-2C07-041C-F93B-BCAF047E97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51879" y="2469666"/>
            <a:ext cx="356616" cy="356616"/>
          </a:xfrm>
          <a:prstGeom prst="rect">
            <a:avLst/>
          </a:prstGeom>
        </p:spPr>
      </p:pic>
      <p:pic>
        <p:nvPicPr>
          <p:cNvPr id="16" name="Graphic 15">
            <a:extLst>
              <a:ext uri="{FF2B5EF4-FFF2-40B4-BE49-F238E27FC236}">
                <a16:creationId xmlns:a16="http://schemas.microsoft.com/office/drawing/2014/main" id="{C01133CF-BC0C-84D4-2B63-C51E4E374B7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9468" y="4021662"/>
            <a:ext cx="356616" cy="356616"/>
          </a:xfrm>
          <a:prstGeom prst="rect">
            <a:avLst/>
          </a:prstGeom>
        </p:spPr>
      </p:pic>
      <p:pic>
        <p:nvPicPr>
          <p:cNvPr id="18" name="Graphic 17">
            <a:extLst>
              <a:ext uri="{FF2B5EF4-FFF2-40B4-BE49-F238E27FC236}">
                <a16:creationId xmlns:a16="http://schemas.microsoft.com/office/drawing/2014/main" id="{0C2704E3-587E-9D9D-DEAC-D89A393553A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54885" y="3255235"/>
            <a:ext cx="356616" cy="356616"/>
          </a:xfrm>
          <a:prstGeom prst="rect">
            <a:avLst/>
          </a:prstGeom>
        </p:spPr>
      </p:pic>
      <p:pic>
        <p:nvPicPr>
          <p:cNvPr id="20" name="Picture 19">
            <a:extLst>
              <a:ext uri="{FF2B5EF4-FFF2-40B4-BE49-F238E27FC236}">
                <a16:creationId xmlns:a16="http://schemas.microsoft.com/office/drawing/2014/main" id="{5FECB160-4CE1-F560-44E0-0C965F3645FA}"/>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56724" y="4029036"/>
            <a:ext cx="356616" cy="356616"/>
          </a:xfrm>
          <a:prstGeom prst="rect">
            <a:avLst/>
          </a:prstGeom>
        </p:spPr>
      </p:pic>
      <p:pic>
        <p:nvPicPr>
          <p:cNvPr id="1026" name="Picture 2" descr="Microsoft Sharepoint Logo transparent PNG - StickPNG">
            <a:extLst>
              <a:ext uri="{FF2B5EF4-FFF2-40B4-BE49-F238E27FC236}">
                <a16:creationId xmlns:a16="http://schemas.microsoft.com/office/drawing/2014/main" id="{89CAE613-A754-546C-9CB9-B425AD306F3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9053" y="3178950"/>
            <a:ext cx="754612" cy="5029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3E54043D-BC10-E5DC-8158-71C32D60797B}"/>
              </a:ext>
              <a:ext uri="{C183D7F6-B498-43B3-948B-1728B52AA6E4}">
                <adec:decorative xmlns:adec="http://schemas.microsoft.com/office/drawing/2017/decorative" val="1"/>
              </a:ext>
            </a:extLst>
          </p:cNvPr>
          <p:cNvGrpSpPr/>
          <p:nvPr/>
        </p:nvGrpSpPr>
        <p:grpSpPr>
          <a:xfrm>
            <a:off x="1348586" y="3212933"/>
            <a:ext cx="569891" cy="415129"/>
            <a:chOff x="878175" y="2720627"/>
            <a:chExt cx="3307848" cy="2409554"/>
          </a:xfrm>
          <a:effectLst>
            <a:outerShdw blurRad="63500" dist="127000" dir="2700000" algn="tl" rotWithShape="0">
              <a:prstClr val="black">
                <a:alpha val="20000"/>
              </a:prstClr>
            </a:outerShdw>
          </a:effectLst>
        </p:grpSpPr>
        <p:sp>
          <p:nvSpPr>
            <p:cNvPr id="26" name="Freeform: Shape 25">
              <a:extLst>
                <a:ext uri="{FF2B5EF4-FFF2-40B4-BE49-F238E27FC236}">
                  <a16:creationId xmlns:a16="http://schemas.microsoft.com/office/drawing/2014/main" id="{F2382E8B-FA12-4097-F8AB-D1965EF0770C}"/>
                </a:ext>
              </a:extLst>
            </p:cNvPr>
            <p:cNvSpPr/>
            <p:nvPr/>
          </p:nvSpPr>
          <p:spPr>
            <a:xfrm>
              <a:off x="878175" y="2720627"/>
              <a:ext cx="3307848" cy="2409554"/>
            </a:xfrm>
            <a:custGeom>
              <a:avLst/>
              <a:gdLst>
                <a:gd name="connsiteX0" fmla="*/ 3307848 w 3307848"/>
                <a:gd name="connsiteY0" fmla="*/ 1655757 h 2409554"/>
                <a:gd name="connsiteX1" fmla="*/ 2662818 w 3307848"/>
                <a:gd name="connsiteY1" fmla="*/ 919949 h 2409554"/>
                <a:gd name="connsiteX2" fmla="*/ 1698029 w 3307848"/>
                <a:gd name="connsiteY2" fmla="*/ 190 h 2409554"/>
                <a:gd name="connsiteX3" fmla="*/ 779182 w 3307848"/>
                <a:gd name="connsiteY3" fmla="*/ 642182 h 2409554"/>
                <a:gd name="connsiteX4" fmla="*/ 0 w 3307848"/>
                <a:gd name="connsiteY4" fmla="*/ 1521472 h 2409554"/>
                <a:gd name="connsiteX5" fmla="*/ 931711 w 3307848"/>
                <a:gd name="connsiteY5" fmla="*/ 2408120 h 2409554"/>
                <a:gd name="connsiteX6" fmla="*/ 1012569 w 3307848"/>
                <a:gd name="connsiteY6" fmla="*/ 2408120 h 2409554"/>
                <a:gd name="connsiteX7" fmla="*/ 2521315 w 3307848"/>
                <a:gd name="connsiteY7" fmla="*/ 2408120 h 2409554"/>
                <a:gd name="connsiteX8" fmla="*/ 2561745 w 3307848"/>
                <a:gd name="connsiteY8" fmla="*/ 2408120 h 2409554"/>
                <a:gd name="connsiteX9" fmla="*/ 3307848 w 3307848"/>
                <a:gd name="connsiteY9" fmla="*/ 1655757 h 240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7848" h="2409554">
                  <a:moveTo>
                    <a:pt x="3307848" y="1655757"/>
                  </a:moveTo>
                  <a:cubicBezTo>
                    <a:pt x="3301140" y="1285743"/>
                    <a:pt x="3028464" y="974681"/>
                    <a:pt x="2662818" y="919949"/>
                  </a:cubicBezTo>
                  <a:cubicBezTo>
                    <a:pt x="2647786" y="400320"/>
                    <a:pt x="2217251" y="-10122"/>
                    <a:pt x="1698029" y="190"/>
                  </a:cubicBezTo>
                  <a:cubicBezTo>
                    <a:pt x="1286260" y="-4026"/>
                    <a:pt x="917207" y="253828"/>
                    <a:pt x="779182" y="642182"/>
                  </a:cubicBezTo>
                  <a:cubicBezTo>
                    <a:pt x="336427" y="699172"/>
                    <a:pt x="3703" y="1074644"/>
                    <a:pt x="0" y="1521472"/>
                  </a:cubicBezTo>
                  <a:cubicBezTo>
                    <a:pt x="17941" y="2021508"/>
                    <a:pt x="431909" y="2415441"/>
                    <a:pt x="931711" y="2408120"/>
                  </a:cubicBezTo>
                  <a:lnTo>
                    <a:pt x="1012569" y="2408120"/>
                  </a:lnTo>
                  <a:lnTo>
                    <a:pt x="2521315" y="2408120"/>
                  </a:lnTo>
                  <a:cubicBezTo>
                    <a:pt x="2534731" y="2410033"/>
                    <a:pt x="2548329" y="2410033"/>
                    <a:pt x="2561745" y="2408120"/>
                  </a:cubicBezTo>
                  <a:cubicBezTo>
                    <a:pt x="2973039" y="2401166"/>
                    <a:pt x="3303915" y="2067496"/>
                    <a:pt x="3307848" y="1655757"/>
                  </a:cubicBezTo>
                  <a:close/>
                </a:path>
              </a:pathLst>
            </a:custGeom>
            <a:gradFill>
              <a:gsLst>
                <a:gs pos="18000">
                  <a:srgbClr val="5EA0EF"/>
                </a:gs>
                <a:gs pos="100000">
                  <a:srgbClr val="0078D4"/>
                </a:gs>
              </a:gsLst>
              <a:lin ang="5400000" scaled="1"/>
            </a:gra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1A3D5171-B4F7-A1F5-2BAA-1CB49BB2CA92}"/>
                </a:ext>
              </a:extLst>
            </p:cNvPr>
            <p:cNvSpPr/>
            <p:nvPr/>
          </p:nvSpPr>
          <p:spPr>
            <a:xfrm>
              <a:off x="1700952" y="3233020"/>
              <a:ext cx="1523821" cy="1531529"/>
            </a:xfrm>
            <a:custGeom>
              <a:avLst/>
              <a:gdLst>
                <a:gd name="connsiteX0" fmla="*/ 1443099 w 1523821"/>
                <a:gd name="connsiteY0" fmla="*/ 273271 h 1531529"/>
                <a:gd name="connsiteX1" fmla="*/ 668666 w 1523821"/>
                <a:gd name="connsiteY1" fmla="*/ 81159 h 1531529"/>
                <a:gd name="connsiteX2" fmla="*/ 412153 w 1523821"/>
                <a:gd name="connsiteY2" fmla="*/ 429630 h 1531529"/>
                <a:gd name="connsiteX3" fmla="*/ 472797 w 1523821"/>
                <a:gd name="connsiteY3" fmla="*/ 847201 h 1531529"/>
                <a:gd name="connsiteX4" fmla="*/ 42777 w 1523821"/>
                <a:gd name="connsiteY4" fmla="*/ 1283167 h 1531529"/>
                <a:gd name="connsiteX5" fmla="*/ 42268 w 1523821"/>
                <a:gd name="connsiteY5" fmla="*/ 1488678 h 1531529"/>
                <a:gd name="connsiteX6" fmla="*/ 42777 w 1523821"/>
                <a:gd name="connsiteY6" fmla="*/ 1489193 h 1531529"/>
                <a:gd name="connsiteX7" fmla="*/ 145687 w 1523821"/>
                <a:gd name="connsiteY7" fmla="*/ 1531502 h 1531529"/>
                <a:gd name="connsiteX8" fmla="*/ 248598 w 1523821"/>
                <a:gd name="connsiteY8" fmla="*/ 1489193 h 1531529"/>
                <a:gd name="connsiteX9" fmla="*/ 676781 w 1523821"/>
                <a:gd name="connsiteY9" fmla="*/ 1055066 h 1531529"/>
                <a:gd name="connsiteX10" fmla="*/ 825634 w 1523821"/>
                <a:gd name="connsiteY10" fmla="*/ 1115771 h 1531529"/>
                <a:gd name="connsiteX11" fmla="*/ 1508172 w 1523821"/>
                <a:gd name="connsiteY11" fmla="*/ 697166 h 1531529"/>
                <a:gd name="connsiteX12" fmla="*/ 1443099 w 1523821"/>
                <a:gd name="connsiteY12" fmla="*/ 273271 h 1531529"/>
                <a:gd name="connsiteX13" fmla="*/ 1343864 w 1523821"/>
                <a:gd name="connsiteY13" fmla="*/ 659570 h 1531529"/>
                <a:gd name="connsiteX14" fmla="*/ 959786 w 1523821"/>
                <a:gd name="connsiteY14" fmla="*/ 963091 h 1531529"/>
                <a:gd name="connsiteX15" fmla="*/ 866063 w 1523821"/>
                <a:gd name="connsiteY15" fmla="*/ 950214 h 1531529"/>
                <a:gd name="connsiteX16" fmla="*/ 737425 w 1523821"/>
                <a:gd name="connsiteY16" fmla="*/ 891349 h 1531529"/>
                <a:gd name="connsiteX17" fmla="*/ 634514 w 1523821"/>
                <a:gd name="connsiteY17" fmla="*/ 788336 h 1531529"/>
                <a:gd name="connsiteX18" fmla="*/ 577545 w 1523821"/>
                <a:gd name="connsiteY18" fmla="*/ 470100 h 1531529"/>
                <a:gd name="connsiteX19" fmla="*/ 959786 w 1523821"/>
                <a:gd name="connsiteY19" fmla="*/ 164740 h 1531529"/>
                <a:gd name="connsiteX20" fmla="*/ 1055346 w 1523821"/>
                <a:gd name="connsiteY20" fmla="*/ 175777 h 1531529"/>
                <a:gd name="connsiteX21" fmla="*/ 1297921 w 1523821"/>
                <a:gd name="connsiteY21" fmla="*/ 359728 h 1531529"/>
                <a:gd name="connsiteX22" fmla="*/ 1343864 w 1523821"/>
                <a:gd name="connsiteY22" fmla="*/ 659570 h 15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821" h="1531529">
                  <a:moveTo>
                    <a:pt x="1443099" y="273271"/>
                  </a:moveTo>
                  <a:cubicBezTo>
                    <a:pt x="1282246" y="6155"/>
                    <a:pt x="935517" y="-79856"/>
                    <a:pt x="668666" y="81159"/>
                  </a:cubicBezTo>
                  <a:cubicBezTo>
                    <a:pt x="540319" y="158603"/>
                    <a:pt x="448027" y="283981"/>
                    <a:pt x="412153" y="429630"/>
                  </a:cubicBezTo>
                  <a:cubicBezTo>
                    <a:pt x="379404" y="571510"/>
                    <a:pt x="401044" y="720528"/>
                    <a:pt x="472797" y="847201"/>
                  </a:cubicBezTo>
                  <a:lnTo>
                    <a:pt x="42777" y="1283167"/>
                  </a:lnTo>
                  <a:cubicBezTo>
                    <a:pt x="-14059" y="1339769"/>
                    <a:pt x="-14287" y="1431781"/>
                    <a:pt x="42268" y="1488678"/>
                  </a:cubicBezTo>
                  <a:cubicBezTo>
                    <a:pt x="42437" y="1488862"/>
                    <a:pt x="42606" y="1489027"/>
                    <a:pt x="42777" y="1489193"/>
                  </a:cubicBezTo>
                  <a:cubicBezTo>
                    <a:pt x="69991" y="1516583"/>
                    <a:pt x="107092" y="1531851"/>
                    <a:pt x="145687" y="1531502"/>
                  </a:cubicBezTo>
                  <a:cubicBezTo>
                    <a:pt x="184364" y="1532274"/>
                    <a:pt x="221628" y="1516951"/>
                    <a:pt x="248598" y="1489193"/>
                  </a:cubicBezTo>
                  <a:lnTo>
                    <a:pt x="676781" y="1055066"/>
                  </a:lnTo>
                  <a:cubicBezTo>
                    <a:pt x="723326" y="1082144"/>
                    <a:pt x="773431" y="1102581"/>
                    <a:pt x="825634" y="1115771"/>
                  </a:cubicBezTo>
                  <a:cubicBezTo>
                    <a:pt x="1129588" y="1188836"/>
                    <a:pt x="1435179" y="1001426"/>
                    <a:pt x="1508172" y="697166"/>
                  </a:cubicBezTo>
                  <a:cubicBezTo>
                    <a:pt x="1542812" y="552792"/>
                    <a:pt x="1519437" y="400577"/>
                    <a:pt x="1443099" y="273271"/>
                  </a:cubicBezTo>
                  <a:close/>
                  <a:moveTo>
                    <a:pt x="1343864" y="659570"/>
                  </a:moveTo>
                  <a:cubicBezTo>
                    <a:pt x="1300770" y="837098"/>
                    <a:pt x="1142305" y="962336"/>
                    <a:pt x="959786" y="963091"/>
                  </a:cubicBezTo>
                  <a:cubicBezTo>
                    <a:pt x="928089" y="963348"/>
                    <a:pt x="896521" y="959007"/>
                    <a:pt x="866063" y="950214"/>
                  </a:cubicBezTo>
                  <a:cubicBezTo>
                    <a:pt x="819570" y="939729"/>
                    <a:pt x="775763" y="919696"/>
                    <a:pt x="737425" y="891349"/>
                  </a:cubicBezTo>
                  <a:cubicBezTo>
                    <a:pt x="696990" y="863753"/>
                    <a:pt x="662083" y="828811"/>
                    <a:pt x="634514" y="788336"/>
                  </a:cubicBezTo>
                  <a:cubicBezTo>
                    <a:pt x="571538" y="695047"/>
                    <a:pt x="550849" y="579474"/>
                    <a:pt x="577545" y="470100"/>
                  </a:cubicBezTo>
                  <a:cubicBezTo>
                    <a:pt x="618555" y="291745"/>
                    <a:pt x="776950" y="165207"/>
                    <a:pt x="959786" y="164740"/>
                  </a:cubicBezTo>
                  <a:cubicBezTo>
                    <a:pt x="991954" y="164782"/>
                    <a:pt x="1024013" y="168485"/>
                    <a:pt x="1055346" y="175777"/>
                  </a:cubicBezTo>
                  <a:cubicBezTo>
                    <a:pt x="1157227" y="202768"/>
                    <a:pt x="1244389" y="268860"/>
                    <a:pt x="1297921" y="359728"/>
                  </a:cubicBezTo>
                  <a:cubicBezTo>
                    <a:pt x="1352832" y="449447"/>
                    <a:pt x="1369389" y="557503"/>
                    <a:pt x="1343864" y="659570"/>
                  </a:cubicBezTo>
                  <a:close/>
                </a:path>
              </a:pathLst>
            </a:custGeom>
            <a:solidFill>
              <a:srgbClr val="F2F2F2"/>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3849BC5D-A1EC-8795-B686-48A238C08EF3}"/>
                </a:ext>
              </a:extLst>
            </p:cNvPr>
            <p:cNvSpPr/>
            <p:nvPr/>
          </p:nvSpPr>
          <p:spPr>
            <a:xfrm>
              <a:off x="2263796" y="3401439"/>
              <a:ext cx="790208" cy="794671"/>
            </a:xfrm>
            <a:custGeom>
              <a:avLst/>
              <a:gdLst>
                <a:gd name="connsiteX0" fmla="*/ 790208 w 790208"/>
                <a:gd name="connsiteY0" fmla="*/ 397336 h 794671"/>
                <a:gd name="connsiteX1" fmla="*/ 395104 w 790208"/>
                <a:gd name="connsiteY1" fmla="*/ 794672 h 794671"/>
                <a:gd name="connsiteX2" fmla="*/ 0 w 790208"/>
                <a:gd name="connsiteY2" fmla="*/ 397336 h 794671"/>
                <a:gd name="connsiteX3" fmla="*/ 395104 w 790208"/>
                <a:gd name="connsiteY3" fmla="*/ 0 h 794671"/>
                <a:gd name="connsiteX4" fmla="*/ 790208 w 790208"/>
                <a:gd name="connsiteY4" fmla="*/ 397336 h 79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208" h="794671">
                  <a:moveTo>
                    <a:pt x="790208" y="397336"/>
                  </a:moveTo>
                  <a:cubicBezTo>
                    <a:pt x="790208" y="616779"/>
                    <a:pt x="613314" y="794672"/>
                    <a:pt x="395104" y="794672"/>
                  </a:cubicBezTo>
                  <a:cubicBezTo>
                    <a:pt x="176894" y="794672"/>
                    <a:pt x="0" y="616779"/>
                    <a:pt x="0" y="397336"/>
                  </a:cubicBezTo>
                  <a:cubicBezTo>
                    <a:pt x="0" y="177893"/>
                    <a:pt x="176894" y="0"/>
                    <a:pt x="395104" y="0"/>
                  </a:cubicBezTo>
                  <a:cubicBezTo>
                    <a:pt x="613314" y="0"/>
                    <a:pt x="790208" y="177893"/>
                    <a:pt x="790208" y="397336"/>
                  </a:cubicBezTo>
                  <a:close/>
                </a:path>
              </a:pathLst>
            </a:custGeom>
            <a:solidFill>
              <a:srgbClr val="83B9F9"/>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pic>
        <p:nvPicPr>
          <p:cNvPr id="36" name="Graphic 35">
            <a:extLst>
              <a:ext uri="{FF2B5EF4-FFF2-40B4-BE49-F238E27FC236}">
                <a16:creationId xmlns:a16="http://schemas.microsoft.com/office/drawing/2014/main" id="{01FC4237-085A-CFAF-CD33-F2E310DB113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348790" y="2311700"/>
            <a:ext cx="356616" cy="356616"/>
          </a:xfrm>
          <a:prstGeom prst="rect">
            <a:avLst/>
          </a:prstGeom>
        </p:spPr>
      </p:pic>
      <p:pic>
        <p:nvPicPr>
          <p:cNvPr id="40" name="Graphic 39">
            <a:extLst>
              <a:ext uri="{FF2B5EF4-FFF2-40B4-BE49-F238E27FC236}">
                <a16:creationId xmlns:a16="http://schemas.microsoft.com/office/drawing/2014/main" id="{1DB35144-0792-E1EA-07B4-77631FDD758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535731" y="2807578"/>
            <a:ext cx="356616" cy="356616"/>
          </a:xfrm>
          <a:prstGeom prst="rect">
            <a:avLst/>
          </a:prstGeom>
        </p:spPr>
      </p:pic>
      <p:pic>
        <p:nvPicPr>
          <p:cNvPr id="42" name="Graphic 41">
            <a:extLst>
              <a:ext uri="{FF2B5EF4-FFF2-40B4-BE49-F238E27FC236}">
                <a16:creationId xmlns:a16="http://schemas.microsoft.com/office/drawing/2014/main" id="{635B585D-AEAA-4425-FC6D-6246CF0B9BD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1047099" y="2790614"/>
            <a:ext cx="356616" cy="356616"/>
          </a:xfrm>
          <a:prstGeom prst="rect">
            <a:avLst/>
          </a:prstGeom>
        </p:spPr>
      </p:pic>
      <p:pic>
        <p:nvPicPr>
          <p:cNvPr id="45" name="Graphic 44">
            <a:extLst>
              <a:ext uri="{FF2B5EF4-FFF2-40B4-BE49-F238E27FC236}">
                <a16:creationId xmlns:a16="http://schemas.microsoft.com/office/drawing/2014/main" id="{A2710D36-75C9-5C0D-A028-35A66659E0A5}"/>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559953" y="3788490"/>
            <a:ext cx="356616" cy="356616"/>
          </a:xfrm>
          <a:prstGeom prst="rect">
            <a:avLst/>
          </a:prstGeom>
        </p:spPr>
      </p:pic>
      <p:pic>
        <p:nvPicPr>
          <p:cNvPr id="50" name="Graphic 49">
            <a:extLst>
              <a:ext uri="{FF2B5EF4-FFF2-40B4-BE49-F238E27FC236}">
                <a16:creationId xmlns:a16="http://schemas.microsoft.com/office/drawing/2014/main" id="{3D6F75DF-8BFA-73C1-FF13-747C2CE01CC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1138539" y="3803875"/>
            <a:ext cx="356616" cy="356616"/>
          </a:xfrm>
          <a:prstGeom prst="rect">
            <a:avLst/>
          </a:prstGeom>
        </p:spPr>
      </p:pic>
      <p:pic>
        <p:nvPicPr>
          <p:cNvPr id="55" name="Graphic 54">
            <a:extLst>
              <a:ext uri="{FF2B5EF4-FFF2-40B4-BE49-F238E27FC236}">
                <a16:creationId xmlns:a16="http://schemas.microsoft.com/office/drawing/2014/main" id="{5353D5B7-E668-5EE8-5526-6126835C669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348790" y="4187001"/>
            <a:ext cx="356616" cy="356616"/>
          </a:xfrm>
          <a:prstGeom prst="rect">
            <a:avLst/>
          </a:prstGeom>
        </p:spPr>
      </p:pic>
      <p:pic>
        <p:nvPicPr>
          <p:cNvPr id="5" name="Graphic 4">
            <a:extLst>
              <a:ext uri="{FF2B5EF4-FFF2-40B4-BE49-F238E27FC236}">
                <a16:creationId xmlns:a16="http://schemas.microsoft.com/office/drawing/2014/main" id="{DFB3F08A-095E-D5CD-4A0F-5FCF28510B11}"/>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57345" y="3153102"/>
            <a:ext cx="548640" cy="548640"/>
          </a:xfrm>
          <a:prstGeom prst="rect">
            <a:avLst/>
          </a:prstGeom>
        </p:spPr>
      </p:pic>
    </p:spTree>
    <p:extLst>
      <p:ext uri="{BB962C8B-B14F-4D97-AF65-F5344CB8AC3E}">
        <p14:creationId xmlns:p14="http://schemas.microsoft.com/office/powerpoint/2010/main" val="610370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2.29167E-6 3.7037E-7 L 2.29167E-6 0.03542 " pathEditMode="relative" rAng="0" ptsTypes="AA">
                                      <p:cBhvr>
                                        <p:cTn id="9" dur="700" spd="-100000" fill="hold"/>
                                        <p:tgtEl>
                                          <p:spTgt spid="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3DD44AB-EEAF-BCB4-4B11-DDCB2A06DF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D6C951-9002-93CC-A6AF-C9A418BD7719}"/>
              </a:ext>
            </a:extLst>
          </p:cNvPr>
          <p:cNvSpPr>
            <a:spLocks noGrp="1"/>
          </p:cNvSpPr>
          <p:nvPr>
            <p:ph type="title"/>
          </p:nvPr>
        </p:nvSpPr>
        <p:spPr>
          <a:xfrm>
            <a:off x="702200" y="2424539"/>
            <a:ext cx="3962932" cy="677108"/>
          </a:xfrm>
        </p:spPr>
        <p:txBody>
          <a:bodyPr>
            <a:normAutofit fontScale="90000"/>
          </a:bodyPr>
          <a:lstStyle/>
          <a:p>
            <a:r>
              <a:rPr lang="en-US" sz="4400" spc="0">
                <a:gradFill flip="none" rotWithShape="1">
                  <a:gsLst>
                    <a:gs pos="32000">
                      <a:srgbClr val="C03BC4"/>
                    </a:gs>
                    <a:gs pos="68000">
                      <a:srgbClr val="0078D4"/>
                    </a:gs>
                    <a:gs pos="100000">
                      <a:srgbClr val="399A91"/>
                    </a:gs>
                    <a:gs pos="0">
                      <a:srgbClr val="FF5C39"/>
                    </a:gs>
                  </a:gsLst>
                  <a:path path="circle">
                    <a:fillToRect l="100000" t="100000"/>
                  </a:path>
                  <a:tileRect r="-100000" b="-100000"/>
                </a:gradFill>
                <a:latin typeface="Segoe UI" panose="020B0502040204020203" pitchFamily="34" charset="0"/>
              </a:rPr>
              <a:t>Generative AI </a:t>
            </a:r>
            <a:r>
              <a:rPr kumimoji="0" lang="en-US" sz="3600" b="0" i="0" u="none" strike="noStrike" kern="1200" cap="none" spc="-50" normalizeH="0" baseline="0" noProof="0">
                <a:ln w="3175">
                  <a:noFill/>
                </a:ln>
                <a:solidFill>
                  <a:schemeClr val="bg1"/>
                </a:solidFill>
                <a:effectLst/>
                <a:uLnTx/>
                <a:uFillTx/>
                <a:latin typeface="Segoe UI Semibold"/>
                <a:ea typeface="+mn-ea"/>
                <a:cs typeface="Segoe UI"/>
              </a:rPr>
              <a:t>makes apps truly intelligent</a:t>
            </a:r>
            <a:endParaRPr lang="en-US">
              <a:solidFill>
                <a:schemeClr val="bg1"/>
              </a:solidFill>
            </a:endParaRPr>
          </a:p>
        </p:txBody>
      </p:sp>
      <p:grpSp>
        <p:nvGrpSpPr>
          <p:cNvPr id="4" name="Group 3">
            <a:extLst>
              <a:ext uri="{FF2B5EF4-FFF2-40B4-BE49-F238E27FC236}">
                <a16:creationId xmlns:a16="http://schemas.microsoft.com/office/drawing/2014/main" id="{C3D07550-C599-0AC9-BF42-4B6BEFB22081}"/>
              </a:ext>
              <a:ext uri="{C183D7F6-B498-43B3-948B-1728B52AA6E4}">
                <adec:decorative xmlns:adec="http://schemas.microsoft.com/office/drawing/2017/decorative" val="1"/>
              </a:ext>
            </a:extLst>
          </p:cNvPr>
          <p:cNvGrpSpPr/>
          <p:nvPr/>
        </p:nvGrpSpPr>
        <p:grpSpPr>
          <a:xfrm>
            <a:off x="5721245" y="582673"/>
            <a:ext cx="5493275" cy="5692654"/>
            <a:chOff x="5721245" y="582673"/>
            <a:chExt cx="5493275" cy="5692654"/>
          </a:xfrm>
        </p:grpSpPr>
        <p:sp>
          <p:nvSpPr>
            <p:cNvPr id="35" name="Oval 34">
              <a:extLst>
                <a:ext uri="{FF2B5EF4-FFF2-40B4-BE49-F238E27FC236}">
                  <a16:creationId xmlns:a16="http://schemas.microsoft.com/office/drawing/2014/main" id="{861BBA52-43D2-E7C1-1406-D3EA46F56F65}"/>
                </a:ext>
              </a:extLst>
            </p:cNvPr>
            <p:cNvSpPr/>
            <p:nvPr/>
          </p:nvSpPr>
          <p:spPr bwMode="auto">
            <a:xfrm>
              <a:off x="5721245" y="582673"/>
              <a:ext cx="5493275" cy="5692654"/>
            </a:xfrm>
            <a:prstGeom prst="ellipse">
              <a:avLst/>
            </a:prstGeom>
            <a:gradFill flip="none" rotWithShape="1">
              <a:gsLst>
                <a:gs pos="5000">
                  <a:srgbClr val="FF5C39"/>
                </a:gs>
                <a:gs pos="50000">
                  <a:srgbClr val="C03BC4"/>
                </a:gs>
                <a:gs pos="100000">
                  <a:srgbClr val="0078D4"/>
                </a:gs>
              </a:gsLst>
              <a:path path="circle">
                <a:fillToRect l="100000" t="100000"/>
              </a:path>
              <a:tileRect r="-100000" b="-100000"/>
            </a:gra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8" name="TextBox 37">
              <a:extLst>
                <a:ext uri="{FF2B5EF4-FFF2-40B4-BE49-F238E27FC236}">
                  <a16:creationId xmlns:a16="http://schemas.microsoft.com/office/drawing/2014/main" id="{0599886C-C0EF-59B3-50EB-6CF9485CE2F1}"/>
                </a:ext>
              </a:extLst>
            </p:cNvPr>
            <p:cNvSpPr txBox="1"/>
            <p:nvPr/>
          </p:nvSpPr>
          <p:spPr>
            <a:xfrm>
              <a:off x="6860033" y="1673647"/>
              <a:ext cx="3649033" cy="10772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Natural language intera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Data-driven, personalized experiences that improve over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Quickly deliver new features</a:t>
              </a:r>
            </a:p>
          </p:txBody>
        </p:sp>
        <p:sp>
          <p:nvSpPr>
            <p:cNvPr id="18" name="TextBox 17">
              <a:extLst>
                <a:ext uri="{FF2B5EF4-FFF2-40B4-BE49-F238E27FC236}">
                  <a16:creationId xmlns:a16="http://schemas.microsoft.com/office/drawing/2014/main" id="{0CC57039-B990-06B5-62E8-1D04C020E1B4}"/>
                </a:ext>
              </a:extLst>
            </p:cNvPr>
            <p:cNvSpPr txBox="1"/>
            <p:nvPr/>
          </p:nvSpPr>
          <p:spPr>
            <a:xfrm>
              <a:off x="7210693" y="3946664"/>
              <a:ext cx="2947714" cy="156966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odern app development princip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icroservices-based architec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pid innovation with CI/CD</a:t>
              </a:r>
            </a:p>
          </p:txBody>
        </p:sp>
        <p:sp>
          <p:nvSpPr>
            <p:cNvPr id="43" name="TextBox 42">
              <a:extLst>
                <a:ext uri="{FF2B5EF4-FFF2-40B4-BE49-F238E27FC236}">
                  <a16:creationId xmlns:a16="http://schemas.microsoft.com/office/drawing/2014/main" id="{BCDD1ECF-D0A5-5D7E-A4B9-6A6F6CAB48A1}"/>
                </a:ext>
              </a:extLst>
            </p:cNvPr>
            <p:cNvSpPr txBox="1"/>
            <p:nvPr/>
          </p:nvSpPr>
          <p:spPr>
            <a:xfrm>
              <a:off x="7315144" y="3354649"/>
              <a:ext cx="2305478"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rPr>
                <a:t>Modern apps</a:t>
              </a:r>
            </a:p>
          </p:txBody>
        </p:sp>
        <p:sp>
          <p:nvSpPr>
            <p:cNvPr id="45" name="TextBox 44">
              <a:extLst>
                <a:ext uri="{FF2B5EF4-FFF2-40B4-BE49-F238E27FC236}">
                  <a16:creationId xmlns:a16="http://schemas.microsoft.com/office/drawing/2014/main" id="{72E7312B-ADE2-50C6-5438-B9723157D2F3}"/>
                </a:ext>
              </a:extLst>
            </p:cNvPr>
            <p:cNvSpPr txBox="1"/>
            <p:nvPr/>
          </p:nvSpPr>
          <p:spPr>
            <a:xfrm>
              <a:off x="7253266" y="1159035"/>
              <a:ext cx="2429232"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rPr>
                <a:t>Intelligent apps</a:t>
              </a:r>
            </a:p>
          </p:txBody>
        </p:sp>
        <p:sp>
          <p:nvSpPr>
            <p:cNvPr id="3" name="Oval 2">
              <a:extLst>
                <a:ext uri="{FF2B5EF4-FFF2-40B4-BE49-F238E27FC236}">
                  <a16:creationId xmlns:a16="http://schemas.microsoft.com/office/drawing/2014/main" id="{31E6E47A-FC23-4264-FA37-190B3FBE7754}"/>
                </a:ext>
              </a:extLst>
            </p:cNvPr>
            <p:cNvSpPr>
              <a:spLocks noChangeAspect="1"/>
            </p:cNvSpPr>
            <p:nvPr/>
          </p:nvSpPr>
          <p:spPr bwMode="auto">
            <a:xfrm>
              <a:off x="6821962" y="2983487"/>
              <a:ext cx="3291840" cy="3291840"/>
            </a:xfrm>
            <a:prstGeom prst="ellipse">
              <a:avLst/>
            </a:prstGeom>
            <a:no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spTree>
    <p:extLst>
      <p:ext uri="{BB962C8B-B14F-4D97-AF65-F5344CB8AC3E}">
        <p14:creationId xmlns:p14="http://schemas.microsoft.com/office/powerpoint/2010/main" val="158837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994D442-8E1F-FFC8-DD3B-802C93C72DAB}"/>
            </a:ext>
          </a:extLst>
        </p:cNvPr>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5869ECF0-323A-F819-DE4F-84F3F90A16B6}"/>
              </a:ext>
              <a:ext uri="{C183D7F6-B498-43B3-948B-1728B52AA6E4}">
                <adec:decorative xmlns:adec="http://schemas.microsoft.com/office/drawing/2017/decorative" val="1"/>
              </a:ext>
            </a:extLst>
          </p:cNvPr>
          <p:cNvSpPr>
            <a:spLocks/>
          </p:cNvSpPr>
          <p:nvPr/>
        </p:nvSpPr>
        <p:spPr bwMode="auto">
          <a:xfrm rot="16200000" flipH="1">
            <a:off x="358963" y="4197165"/>
            <a:ext cx="1833194" cy="1382715"/>
          </a:xfrm>
          <a:custGeom>
            <a:avLst/>
            <a:gdLst>
              <a:gd name="connsiteX0" fmla="*/ 112583 w 1833195"/>
              <a:gd name="connsiteY0" fmla="*/ 0 h 1384617"/>
              <a:gd name="connsiteX1" fmla="*/ 1720612 w 1833195"/>
              <a:gd name="connsiteY1" fmla="*/ 0 h 1384617"/>
              <a:gd name="connsiteX2" fmla="*/ 1833195 w 1833195"/>
              <a:gd name="connsiteY2" fmla="*/ 112583 h 1384617"/>
              <a:gd name="connsiteX3" fmla="*/ 1833195 w 1833195"/>
              <a:gd name="connsiteY3" fmla="*/ 1384617 h 1384617"/>
              <a:gd name="connsiteX4" fmla="*/ 1833195 w 1833195"/>
              <a:gd name="connsiteY4" fmla="*/ 1384617 h 1384617"/>
              <a:gd name="connsiteX5" fmla="*/ 0 w 1833195"/>
              <a:gd name="connsiteY5" fmla="*/ 1384617 h 1384617"/>
              <a:gd name="connsiteX6" fmla="*/ 0 w 1833195"/>
              <a:gd name="connsiteY6" fmla="*/ 1384617 h 1384617"/>
              <a:gd name="connsiteX7" fmla="*/ 0 w 1833195"/>
              <a:gd name="connsiteY7" fmla="*/ 112583 h 1384617"/>
              <a:gd name="connsiteX8" fmla="*/ 112583 w 1833195"/>
              <a:gd name="connsiteY8" fmla="*/ 0 h 1384617"/>
              <a:gd name="connsiteX0" fmla="*/ 0 w 1833195"/>
              <a:gd name="connsiteY0" fmla="*/ 1384617 h 1476057"/>
              <a:gd name="connsiteX1" fmla="*/ 0 w 1833195"/>
              <a:gd name="connsiteY1" fmla="*/ 112583 h 1476057"/>
              <a:gd name="connsiteX2" fmla="*/ 112583 w 1833195"/>
              <a:gd name="connsiteY2" fmla="*/ 0 h 1476057"/>
              <a:gd name="connsiteX3" fmla="*/ 1720612 w 1833195"/>
              <a:gd name="connsiteY3" fmla="*/ 0 h 1476057"/>
              <a:gd name="connsiteX4" fmla="*/ 1833195 w 1833195"/>
              <a:gd name="connsiteY4" fmla="*/ 112583 h 1476057"/>
              <a:gd name="connsiteX5" fmla="*/ 1833195 w 1833195"/>
              <a:gd name="connsiteY5" fmla="*/ 1384617 h 1476057"/>
              <a:gd name="connsiteX6" fmla="*/ 1833195 w 1833195"/>
              <a:gd name="connsiteY6" fmla="*/ 1384617 h 1476057"/>
              <a:gd name="connsiteX7" fmla="*/ 0 w 1833195"/>
              <a:gd name="connsiteY7" fmla="*/ 1384617 h 1476057"/>
              <a:gd name="connsiteX8" fmla="*/ 91440 w 1833195"/>
              <a:gd name="connsiteY8" fmla="*/ 1476057 h 1476057"/>
              <a:gd name="connsiteX0" fmla="*/ 0 w 1833195"/>
              <a:gd name="connsiteY0" fmla="*/ 1384617 h 1384617"/>
              <a:gd name="connsiteX1" fmla="*/ 0 w 1833195"/>
              <a:gd name="connsiteY1" fmla="*/ 112583 h 1384617"/>
              <a:gd name="connsiteX2" fmla="*/ 112583 w 1833195"/>
              <a:gd name="connsiteY2" fmla="*/ 0 h 1384617"/>
              <a:gd name="connsiteX3" fmla="*/ 1720612 w 1833195"/>
              <a:gd name="connsiteY3" fmla="*/ 0 h 1384617"/>
              <a:gd name="connsiteX4" fmla="*/ 1833195 w 1833195"/>
              <a:gd name="connsiteY4" fmla="*/ 112583 h 1384617"/>
              <a:gd name="connsiteX5" fmla="*/ 1833195 w 1833195"/>
              <a:gd name="connsiteY5" fmla="*/ 1384617 h 1384617"/>
              <a:gd name="connsiteX6" fmla="*/ 1833195 w 1833195"/>
              <a:gd name="connsiteY6" fmla="*/ 1384617 h 1384617"/>
              <a:gd name="connsiteX7" fmla="*/ 0 w 1833195"/>
              <a:gd name="connsiteY7" fmla="*/ 1384617 h 1384617"/>
              <a:gd name="connsiteX0" fmla="*/ 0 w 1833195"/>
              <a:gd name="connsiteY0" fmla="*/ 1384617 h 1384617"/>
              <a:gd name="connsiteX1" fmla="*/ 0 w 1833195"/>
              <a:gd name="connsiteY1" fmla="*/ 112583 h 1384617"/>
              <a:gd name="connsiteX2" fmla="*/ 112583 w 1833195"/>
              <a:gd name="connsiteY2" fmla="*/ 0 h 1384617"/>
              <a:gd name="connsiteX3" fmla="*/ 1720612 w 1833195"/>
              <a:gd name="connsiteY3" fmla="*/ 0 h 1384617"/>
              <a:gd name="connsiteX4" fmla="*/ 1833195 w 1833195"/>
              <a:gd name="connsiteY4" fmla="*/ 112583 h 1384617"/>
              <a:gd name="connsiteX5" fmla="*/ 1833195 w 1833195"/>
              <a:gd name="connsiteY5" fmla="*/ 1384617 h 1384617"/>
              <a:gd name="connsiteX6" fmla="*/ 1833195 w 1833195"/>
              <a:gd name="connsiteY6" fmla="*/ 1384617 h 138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3195" h="1384617">
                <a:moveTo>
                  <a:pt x="0" y="1384617"/>
                </a:moveTo>
                <a:lnTo>
                  <a:pt x="0" y="112583"/>
                </a:lnTo>
                <a:cubicBezTo>
                  <a:pt x="0" y="50405"/>
                  <a:pt x="50405" y="0"/>
                  <a:pt x="112583" y="0"/>
                </a:cubicBezTo>
                <a:lnTo>
                  <a:pt x="1720612" y="0"/>
                </a:lnTo>
                <a:cubicBezTo>
                  <a:pt x="1782790" y="0"/>
                  <a:pt x="1833195" y="50405"/>
                  <a:pt x="1833195" y="112583"/>
                </a:cubicBezTo>
                <a:lnTo>
                  <a:pt x="1833195" y="1384617"/>
                </a:lnTo>
                <a:lnTo>
                  <a:pt x="1833195" y="1384617"/>
                </a:lnTo>
              </a:path>
            </a:pathLst>
          </a:custGeom>
          <a:solidFill>
            <a:srgbClr val="0D2C3F"/>
          </a:solidFill>
          <a:ln w="6350">
            <a:solidFill>
              <a:schemeClr val="bg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16" name="Rectangle: Top Corners Rounded 15">
            <a:extLst>
              <a:ext uri="{FF2B5EF4-FFF2-40B4-BE49-F238E27FC236}">
                <a16:creationId xmlns:a16="http://schemas.microsoft.com/office/drawing/2014/main" id="{368B253E-CC3D-C623-91B6-616840240DCB}"/>
              </a:ext>
              <a:ext uri="{C183D7F6-B498-43B3-948B-1728B52AA6E4}">
                <adec:decorative xmlns:adec="http://schemas.microsoft.com/office/drawing/2017/decorative" val="1"/>
              </a:ext>
            </a:extLst>
          </p:cNvPr>
          <p:cNvSpPr>
            <a:spLocks/>
          </p:cNvSpPr>
          <p:nvPr/>
        </p:nvSpPr>
        <p:spPr bwMode="auto">
          <a:xfrm flipH="1">
            <a:off x="1973580" y="1202640"/>
            <a:ext cx="9632635" cy="301752"/>
          </a:xfrm>
          <a:prstGeom prst="round2SameRect">
            <a:avLst>
              <a:gd name="adj1" fmla="val 46654"/>
              <a:gd name="adj2" fmla="val 0"/>
            </a:avLst>
          </a:prstGeom>
          <a:solidFill>
            <a:srgbClr val="0616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7"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10" name="Title 9">
            <a:extLst>
              <a:ext uri="{FF2B5EF4-FFF2-40B4-BE49-F238E27FC236}">
                <a16:creationId xmlns:a16="http://schemas.microsoft.com/office/drawing/2014/main" id="{E55B79D4-F78B-0024-DBE5-C35FCA6CDB8B}"/>
              </a:ext>
            </a:extLst>
          </p:cNvPr>
          <p:cNvSpPr>
            <a:spLocks noGrp="1"/>
          </p:cNvSpPr>
          <p:nvPr>
            <p:ph type="title"/>
          </p:nvPr>
        </p:nvSpPr>
        <p:spPr/>
        <p:txBody>
          <a:bodyPr/>
          <a:lstStyle/>
          <a:p>
            <a:r>
              <a:rPr lang="en-US" sz="3200" spc="0">
                <a:ea typeface="+mj-ea"/>
                <a:cs typeface="+mj-cs"/>
              </a:rPr>
              <a:t>AI Alignment Guide</a:t>
            </a:r>
          </a:p>
        </p:txBody>
      </p:sp>
      <p:graphicFrame>
        <p:nvGraphicFramePr>
          <p:cNvPr id="43" name="Table 42">
            <a:extLst>
              <a:ext uri="{FF2B5EF4-FFF2-40B4-BE49-F238E27FC236}">
                <a16:creationId xmlns:a16="http://schemas.microsoft.com/office/drawing/2014/main" id="{8F3A59E2-B4E3-ABF6-38D0-A4DFFBDC57C1}"/>
              </a:ext>
            </a:extLst>
          </p:cNvPr>
          <p:cNvGraphicFramePr>
            <a:graphicFrameLocks noGrp="1"/>
          </p:cNvGraphicFramePr>
          <p:nvPr/>
        </p:nvGraphicFramePr>
        <p:xfrm>
          <a:off x="588963" y="1202640"/>
          <a:ext cx="11017254" cy="4602480"/>
        </p:xfrm>
        <a:graphic>
          <a:graphicData uri="http://schemas.openxmlformats.org/drawingml/2006/table">
            <a:tbl>
              <a:tblPr firstRow="1" bandRow="1">
                <a:tableStyleId>{5C22544A-7EE6-4342-B048-85BDC9FD1C3A}</a:tableStyleId>
              </a:tblPr>
              <a:tblGrid>
                <a:gridCol w="1381179">
                  <a:extLst>
                    <a:ext uri="{9D8B030D-6E8A-4147-A177-3AD203B41FA5}">
                      <a16:colId xmlns:a16="http://schemas.microsoft.com/office/drawing/2014/main" val="3027874720"/>
                    </a:ext>
                  </a:extLst>
                </a:gridCol>
                <a:gridCol w="1827158">
                  <a:extLst>
                    <a:ext uri="{9D8B030D-6E8A-4147-A177-3AD203B41FA5}">
                      <a16:colId xmlns:a16="http://schemas.microsoft.com/office/drawing/2014/main" val="2349553311"/>
                    </a:ext>
                  </a:extLst>
                </a:gridCol>
                <a:gridCol w="581860">
                  <a:extLst>
                    <a:ext uri="{9D8B030D-6E8A-4147-A177-3AD203B41FA5}">
                      <a16:colId xmlns:a16="http://schemas.microsoft.com/office/drawing/2014/main" val="1940879556"/>
                    </a:ext>
                  </a:extLst>
                </a:gridCol>
                <a:gridCol w="650040">
                  <a:extLst>
                    <a:ext uri="{9D8B030D-6E8A-4147-A177-3AD203B41FA5}">
                      <a16:colId xmlns:a16="http://schemas.microsoft.com/office/drawing/2014/main" val="2292963298"/>
                    </a:ext>
                  </a:extLst>
                </a:gridCol>
                <a:gridCol w="1111250">
                  <a:extLst>
                    <a:ext uri="{9D8B030D-6E8A-4147-A177-3AD203B41FA5}">
                      <a16:colId xmlns:a16="http://schemas.microsoft.com/office/drawing/2014/main" val="1318771982"/>
                    </a:ext>
                  </a:extLst>
                </a:gridCol>
                <a:gridCol w="647730">
                  <a:extLst>
                    <a:ext uri="{9D8B030D-6E8A-4147-A177-3AD203B41FA5}">
                      <a16:colId xmlns:a16="http://schemas.microsoft.com/office/drawing/2014/main" val="2064257952"/>
                    </a:ext>
                  </a:extLst>
                </a:gridCol>
                <a:gridCol w="727045">
                  <a:extLst>
                    <a:ext uri="{9D8B030D-6E8A-4147-A177-3AD203B41FA5}">
                      <a16:colId xmlns:a16="http://schemas.microsoft.com/office/drawing/2014/main" val="711901082"/>
                    </a:ext>
                  </a:extLst>
                </a:gridCol>
                <a:gridCol w="1238251">
                  <a:extLst>
                    <a:ext uri="{9D8B030D-6E8A-4147-A177-3AD203B41FA5}">
                      <a16:colId xmlns:a16="http://schemas.microsoft.com/office/drawing/2014/main" val="4243935090"/>
                    </a:ext>
                  </a:extLst>
                </a:gridCol>
                <a:gridCol w="443723">
                  <a:extLst>
                    <a:ext uri="{9D8B030D-6E8A-4147-A177-3AD203B41FA5}">
                      <a16:colId xmlns:a16="http://schemas.microsoft.com/office/drawing/2014/main" val="3435291889"/>
                    </a:ext>
                  </a:extLst>
                </a:gridCol>
                <a:gridCol w="524651">
                  <a:extLst>
                    <a:ext uri="{9D8B030D-6E8A-4147-A177-3AD203B41FA5}">
                      <a16:colId xmlns:a16="http://schemas.microsoft.com/office/drawing/2014/main" val="978642610"/>
                    </a:ext>
                  </a:extLst>
                </a:gridCol>
                <a:gridCol w="1884367">
                  <a:extLst>
                    <a:ext uri="{9D8B030D-6E8A-4147-A177-3AD203B41FA5}">
                      <a16:colId xmlns:a16="http://schemas.microsoft.com/office/drawing/2014/main" val="755342712"/>
                    </a:ext>
                  </a:extLst>
                </a:gridCol>
              </a:tblGrid>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mn-lt"/>
                        <a:ea typeface="+mn-ea"/>
                        <a:cs typeface="+mn-cs"/>
                      </a:endParaRPr>
                    </a:p>
                  </a:txBody>
                  <a:tcPr anchor="ctr">
                    <a:lnL w="12700" cmpd="sng">
                      <a:noFill/>
                    </a:lnL>
                    <a:lnR w="3175"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0">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prstClr val="white"/>
                          </a:solidFill>
                          <a:effectLst/>
                          <a:uLnTx/>
                          <a:uFillTx/>
                          <a:latin typeface="+mn-lt"/>
                          <a:ea typeface="+mn-ea"/>
                          <a:cs typeface="+mn-cs"/>
                        </a:rPr>
                        <a:t>I want a </a:t>
                      </a:r>
                      <a:r>
                        <a:rPr lang="it-IT" sz="1400" kern="1200" spc="-50" noProof="0">
                          <a:ln w="3175">
                            <a:noFill/>
                          </a:ln>
                          <a:gradFill flip="none" rotWithShape="1">
                            <a:gsLst>
                              <a:gs pos="12000">
                                <a:srgbClr val="D59ED7"/>
                              </a:gs>
                              <a:gs pos="86000">
                                <a:srgbClr val="8DC8E8"/>
                              </a:gs>
                            </a:gsLst>
                            <a:lin ang="10800000" scaled="1"/>
                            <a:tileRect/>
                          </a:gradFill>
                          <a:latin typeface="+mj-lt"/>
                          <a:ea typeface="+mj-ea"/>
                          <a:cs typeface="+mj-cs"/>
                        </a:rPr>
                        <a:t>generative AI solution</a:t>
                      </a:r>
                    </a:p>
                  </a:txBody>
                  <a:tcPr anchor="ctr">
                    <a:lnL w="3175"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a:ln>
                          <a:noFill/>
                        </a:ln>
                        <a:solidFill>
                          <a:prstClr val="white"/>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a:ln>
                          <a:noFill/>
                        </a:ln>
                        <a:solidFill>
                          <a:prstClr val="white"/>
                        </a:solidFill>
                        <a:effectLst/>
                        <a:uLnTx/>
                        <a:uFillTx/>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a:ln>
                          <a:noFill/>
                        </a:ln>
                        <a:solidFill>
                          <a:prstClr val="white"/>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611721015"/>
                  </a:ext>
                </a:extLst>
              </a:tr>
              <a:tr h="0">
                <a:tc row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mn-lt"/>
                        <a:ea typeface="+mn-ea"/>
                        <a:cs typeface="+mn-cs"/>
                      </a:endParaRPr>
                    </a:p>
                  </a:txBody>
                  <a:tcPr anchor="ctr">
                    <a:lnL w="12700" cmpd="sng">
                      <a:noFill/>
                    </a:lnL>
                    <a:lnR w="6350" cap="flat" cmpd="sng" algn="ctr">
                      <a:solidFill>
                        <a:srgbClr val="2E4756"/>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I want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out-of-the-box solutions </a:t>
                      </a: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that work with my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existing data estate</a:t>
                      </a: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 for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my employees</a:t>
                      </a:r>
                    </a:p>
                  </a:txBody>
                  <a:tcPr anchor="ctr">
                    <a:lnL w="6350" cap="flat" cmpd="sng" algn="ctr">
                      <a:solidFill>
                        <a:srgbClr val="2E4756"/>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10000"/>
                      </a:schemeClr>
                    </a:solidFill>
                  </a:tcPr>
                </a:tc>
                <a:tc hMerge="1">
                  <a:txBody>
                    <a:bodyPr/>
                    <a:lstStyle/>
                    <a:p>
                      <a:endParaRPr lang="en-US"/>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a:ln>
                          <a:noFill/>
                        </a:ln>
                        <a:solidFill>
                          <a:prstClr val="white"/>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5">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I want to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build a solution </a:t>
                      </a: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with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custom data and UI</a:t>
                      </a:r>
                      <a:r>
                        <a:rPr kumimoji="0" lang="it-IT" sz="1200" b="0" i="0" u="none" strike="noStrike" kern="1200" cap="none" spc="0" normalizeH="0" baseline="0" noProof="0">
                          <a:ln>
                            <a:noFill/>
                          </a:ln>
                          <a:solidFill>
                            <a:schemeClr val="accent3">
                              <a:lumMod val="20000"/>
                              <a:lumOff val="80000"/>
                            </a:schemeClr>
                          </a:solidFill>
                          <a:effectLst/>
                          <a:uLnTx/>
                          <a:uFillTx/>
                          <a:latin typeface="+mn-lt"/>
                          <a:ea typeface="+mj-ea"/>
                          <a:cs typeface="+mj-cs"/>
                        </a:rPr>
                        <a:t>, and deploy </a:t>
                      </a:r>
                      <a:r>
                        <a:rPr kumimoji="0" lang="it-IT" sz="1200" b="0" i="0" u="none" strike="noStrike" kern="1200" cap="none" spc="0" normalizeH="0" baseline="0" noProof="0">
                          <a:ln>
                            <a:noFill/>
                          </a:ln>
                          <a:solidFill>
                            <a:schemeClr val="accent3">
                              <a:lumMod val="20000"/>
                              <a:lumOff val="80000"/>
                            </a:schemeClr>
                          </a:solidFill>
                          <a:effectLst/>
                          <a:uLnTx/>
                          <a:uFillTx/>
                          <a:latin typeface="+mj-lt"/>
                          <a:ea typeface="+mj-ea"/>
                          <a:cs typeface="+mj-cs"/>
                        </a:rPr>
                        <a:t>internally or externally</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2E4756"/>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alpha val="10000"/>
                      </a:schemeClr>
                    </a:solidFill>
                  </a:tcPr>
                </a:tc>
                <a:tc hMerge="1">
                  <a:txBody>
                    <a:bodyPr/>
                    <a:lstStyle/>
                    <a:p>
                      <a:endParaRPr lang="en-US"/>
                    </a:p>
                  </a:txBody>
                  <a:tcPr/>
                </a:tc>
                <a:tc hMerge="1">
                  <a:txBody>
                    <a:bodyPr/>
                    <a:lstStyle/>
                    <a:p>
                      <a:endParaRPr lang="en-US"/>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a:ln>
                          <a:noFill/>
                        </a:ln>
                        <a:solidFill>
                          <a:prstClr val="white"/>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782904524"/>
                  </a:ext>
                </a:extLst>
              </a:tr>
              <a:tr h="0">
                <a:tc vMerge="1">
                  <a:txBody>
                    <a:bodyPr/>
                    <a:lstStyle/>
                    <a:p>
                      <a:pPr algn="ctr"/>
                      <a:endParaRPr lang="en-US"/>
                    </a:p>
                  </a:txBody>
                  <a:tcP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I want insights and actions for specific roles that integrate with </a:t>
                      </a:r>
                      <a:r>
                        <a:rPr kumimoji="0" lang="en-US" sz="1200" i="0" u="none" strike="noStrike" kern="1200" cap="none" spc="0" normalizeH="0" baseline="0" noProof="0">
                          <a:ln>
                            <a:noFill/>
                          </a:ln>
                          <a:solidFill>
                            <a:schemeClr val="bg1"/>
                          </a:solidFill>
                          <a:effectLst/>
                          <a:uLnTx/>
                          <a:uFillTx/>
                          <a:latin typeface="+mj-lt"/>
                          <a:ea typeface="+mn-ea"/>
                          <a:cs typeface="+mn-cs"/>
                        </a:rPr>
                        <a:t>existing system</a:t>
                      </a:r>
                    </a:p>
                  </a:txBody>
                  <a:tcPr anchor="ctr">
                    <a:lnL w="6350" cap="flat" cmpd="sng" algn="ctr">
                      <a:solidFill>
                        <a:srgbClr val="113A52"/>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tx1">
                        <a:lumMod val="90000"/>
                        <a:lumOff val="10000"/>
                        <a:alpha val="50000"/>
                      </a:schemeClr>
                    </a:solid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I want insights and actions on </a:t>
                      </a:r>
                      <a:r>
                        <a:rPr kumimoji="0" lang="en-US" sz="1200" i="0" u="none" strike="noStrike" kern="1200" cap="none" spc="0" normalizeH="0" baseline="0" noProof="0">
                          <a:ln>
                            <a:noFill/>
                          </a:ln>
                          <a:solidFill>
                            <a:schemeClr val="bg1"/>
                          </a:solidFill>
                          <a:effectLst/>
                          <a:uLnTx/>
                          <a:uFillTx/>
                          <a:latin typeface="+mj-lt"/>
                          <a:ea typeface="+mn-ea"/>
                          <a:cs typeface="+mn-cs"/>
                        </a:rPr>
                        <a:t>M365 data </a:t>
                      </a:r>
                      <a:r>
                        <a:rPr kumimoji="0" lang="en-US" sz="1200" b="0" i="0" u="none" strike="noStrike" kern="1200" cap="none" spc="0" normalizeH="0" baseline="0" noProof="0">
                          <a:ln>
                            <a:noFill/>
                          </a:ln>
                          <a:solidFill>
                            <a:schemeClr val="bg1"/>
                          </a:solidFill>
                          <a:effectLst/>
                          <a:uLnTx/>
                          <a:uFillTx/>
                          <a:latin typeface="+mn-lt"/>
                          <a:ea typeface="+mn-ea"/>
                          <a:cs typeface="+mn-cs"/>
                        </a:rPr>
                        <a:t>and </a:t>
                      </a:r>
                      <a:r>
                        <a:rPr kumimoji="0" lang="en-US" sz="1200" i="0" u="none" strike="noStrike" kern="1200" cap="none" spc="0" normalizeH="0" baseline="0" noProof="0">
                          <a:ln>
                            <a:noFill/>
                          </a:ln>
                          <a:solidFill>
                            <a:schemeClr val="bg1"/>
                          </a:solidFill>
                          <a:effectLst/>
                          <a:uLnTx/>
                          <a:uFillTx/>
                          <a:latin typeface="+mj-lt"/>
                          <a:ea typeface="+mn-ea"/>
                          <a:cs typeface="+mn-cs"/>
                        </a:rPr>
                        <a:t>plugins</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tx1">
                        <a:lumMod val="90000"/>
                        <a:lumOff val="10000"/>
                        <a:alpha val="50000"/>
                      </a:schemeClr>
                    </a:solid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chemeClr val="bg1"/>
                          </a:solidFill>
                          <a:effectLst/>
                          <a:uLnTx/>
                          <a:uFillTx/>
                          <a:latin typeface="+mn-lt"/>
                          <a:ea typeface="+mn-ea"/>
                          <a:cs typeface="+mn-cs"/>
                        </a:rPr>
                        <a:t>I want to </a:t>
                      </a:r>
                      <a:r>
                        <a:rPr kumimoji="0" lang="it-IT" sz="1200" i="0" u="none" strike="noStrike" kern="1200" cap="none" spc="0" normalizeH="0" baseline="0" noProof="0">
                          <a:ln>
                            <a:noFill/>
                          </a:ln>
                          <a:solidFill>
                            <a:schemeClr val="bg1"/>
                          </a:solidFill>
                          <a:effectLst/>
                          <a:uLnTx/>
                          <a:uFillTx/>
                          <a:latin typeface="+mj-lt"/>
                          <a:ea typeface="+mn-ea"/>
                          <a:cs typeface="+mn-cs"/>
                        </a:rPr>
                        <a:t>customize agents</a:t>
                      </a:r>
                      <a:r>
                        <a:rPr kumimoji="0" lang="it-IT" sz="1200" b="0" i="0" u="none" strike="noStrike" kern="1200" cap="none" spc="0" normalizeH="0" baseline="0" noProof="0">
                          <a:ln>
                            <a:noFill/>
                          </a:ln>
                          <a:solidFill>
                            <a:schemeClr val="bg1"/>
                          </a:solidFill>
                          <a:effectLst/>
                          <a:uLnTx/>
                          <a:uFillTx/>
                          <a:latin typeface="+mj-lt"/>
                          <a:ea typeface="+mn-ea"/>
                          <a:cs typeface="+mn-cs"/>
                        </a:rPr>
                        <a:t> </a:t>
                      </a:r>
                      <a:r>
                        <a:rPr kumimoji="0" lang="it-IT" sz="1200" b="0" i="0" u="none" strike="noStrike" kern="1200" cap="none" spc="0" normalizeH="0" baseline="0" noProof="0">
                          <a:ln>
                            <a:noFill/>
                          </a:ln>
                          <a:solidFill>
                            <a:schemeClr val="bg1"/>
                          </a:solidFill>
                          <a:effectLst/>
                          <a:uLnTx/>
                          <a:uFillTx/>
                          <a:latin typeface="+mn-lt"/>
                          <a:ea typeface="+mn-ea"/>
                          <a:cs typeface="+mn-cs"/>
                        </a:rPr>
                        <a:t>with </a:t>
                      </a:r>
                      <a:r>
                        <a:rPr kumimoji="0" lang="it-IT" sz="1200" i="0" u="none" strike="noStrike" kern="1200" cap="none" spc="0" normalizeH="0" baseline="0" noProof="0">
                          <a:ln>
                            <a:noFill/>
                          </a:ln>
                          <a:solidFill>
                            <a:schemeClr val="bg1"/>
                          </a:solidFill>
                          <a:effectLst/>
                          <a:uLnTx/>
                          <a:uFillTx/>
                          <a:latin typeface="+mj-lt"/>
                          <a:ea typeface="+mn-ea"/>
                          <a:cs typeface="+mn-cs"/>
                        </a:rPr>
                        <a:t>natural languages </a:t>
                      </a:r>
                      <a:r>
                        <a:rPr kumimoji="0" lang="it-IT" sz="1200" b="0" i="0" u="none" strike="noStrike" kern="1200" cap="none" spc="0" normalizeH="0" baseline="0" noProof="0">
                          <a:ln>
                            <a:noFill/>
                          </a:ln>
                          <a:solidFill>
                            <a:schemeClr val="bg1"/>
                          </a:solidFill>
                          <a:effectLst/>
                          <a:uLnTx/>
                          <a:uFillTx/>
                          <a:latin typeface="+mn-lt"/>
                          <a:ea typeface="+mn-ea"/>
                          <a:cs typeface="+mn-cs"/>
                        </a:rPr>
                        <a:t>and use a </a:t>
                      </a:r>
                      <a:r>
                        <a:rPr kumimoji="0" lang="it-IT" sz="1200" i="0" u="none" strike="noStrike" kern="1200" cap="none" spc="0" normalizeH="0" baseline="0" noProof="0">
                          <a:ln>
                            <a:noFill/>
                          </a:ln>
                          <a:solidFill>
                            <a:schemeClr val="bg1"/>
                          </a:solidFill>
                          <a:effectLst/>
                          <a:uLnTx/>
                          <a:uFillTx/>
                          <a:latin typeface="+mj-lt"/>
                          <a:ea typeface="+mn-ea"/>
                          <a:cs typeface="+mn-cs"/>
                        </a:rPr>
                        <a:t>generative orchestrator</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tx1">
                        <a:lumMod val="90000"/>
                        <a:lumOff val="10000"/>
                        <a:alpha val="50000"/>
                      </a:schemeClr>
                    </a:solid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chemeClr val="bg1"/>
                          </a:solidFill>
                          <a:effectLst/>
                          <a:uLnTx/>
                          <a:uFillTx/>
                          <a:latin typeface="+mn-lt"/>
                          <a:ea typeface="+mn-ea"/>
                          <a:cs typeface="+mn-cs"/>
                        </a:rPr>
                        <a:t>I want </a:t>
                      </a:r>
                      <a:r>
                        <a:rPr kumimoji="0" lang="it-IT" sz="1200" i="0" u="none" strike="noStrike" kern="1200" cap="none" spc="0" normalizeH="0" baseline="0" noProof="0">
                          <a:ln>
                            <a:noFill/>
                          </a:ln>
                          <a:solidFill>
                            <a:schemeClr val="bg1"/>
                          </a:solidFill>
                          <a:effectLst/>
                          <a:uLnTx/>
                          <a:uFillTx/>
                          <a:latin typeface="+mj-lt"/>
                          <a:ea typeface="+mn-ea"/>
                          <a:cs typeface="+mn-cs"/>
                        </a:rPr>
                        <a:t>full control</a:t>
                      </a:r>
                      <a:r>
                        <a:rPr kumimoji="0" lang="it-IT" sz="1200" b="0" i="0" u="none" strike="noStrike" kern="1200" cap="none" spc="0" normalizeH="0" baseline="0" noProof="0">
                          <a:ln>
                            <a:noFill/>
                          </a:ln>
                          <a:solidFill>
                            <a:schemeClr val="bg1"/>
                          </a:solidFill>
                          <a:effectLst/>
                          <a:uLnTx/>
                          <a:uFillTx/>
                          <a:latin typeface="+mn-lt"/>
                          <a:ea typeface="+mn-ea"/>
                          <a:cs typeface="+mn-cs"/>
                        </a:rPr>
                        <a:t>, </a:t>
                      </a:r>
                      <a:r>
                        <a:rPr kumimoji="0" lang="it-IT" sz="1200" i="0" u="none" strike="noStrike" kern="1200" cap="none" spc="0" normalizeH="0" baseline="0" noProof="0">
                          <a:ln>
                            <a:noFill/>
                          </a:ln>
                          <a:solidFill>
                            <a:schemeClr val="bg1"/>
                          </a:solidFill>
                          <a:effectLst/>
                          <a:uLnTx/>
                          <a:uFillTx/>
                          <a:latin typeface="+mj-lt"/>
                          <a:ea typeface="+mn-ea"/>
                          <a:cs typeface="+mn-cs"/>
                        </a:rPr>
                        <a:t>choice of model</a:t>
                      </a:r>
                      <a:r>
                        <a:rPr kumimoji="0" lang="it-IT" sz="1200" b="0" i="0" u="none" strike="noStrike" kern="1200" cap="none" spc="0" normalizeH="0" baseline="0" noProof="0">
                          <a:ln>
                            <a:noFill/>
                          </a:ln>
                          <a:solidFill>
                            <a:schemeClr val="bg1"/>
                          </a:solidFill>
                          <a:effectLst/>
                          <a:uLnTx/>
                          <a:uFillTx/>
                          <a:latin typeface="+mn-lt"/>
                          <a:ea typeface="+mn-ea"/>
                          <a:cs typeface="+mn-cs"/>
                        </a:rPr>
                        <a:t>, and </a:t>
                      </a:r>
                      <a:r>
                        <a:rPr kumimoji="0" lang="it-IT" sz="1200" i="0" u="none" strike="noStrike" kern="1200" cap="none" spc="0" normalizeH="0" baseline="0" noProof="0">
                          <a:ln>
                            <a:noFill/>
                          </a:ln>
                          <a:solidFill>
                            <a:schemeClr val="bg1"/>
                          </a:solidFill>
                          <a:effectLst/>
                          <a:uLnTx/>
                          <a:uFillTx/>
                          <a:latin typeface="+mj-lt"/>
                          <a:ea typeface="+mn-ea"/>
                          <a:cs typeface="+mn-cs"/>
                        </a:rPr>
                        <a:t>customize with code</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113A5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tx1">
                        <a:lumMod val="90000"/>
                        <a:lumOff val="10000"/>
                        <a:alpha val="50000"/>
                      </a:schemeClr>
                    </a:solidFill>
                  </a:tcPr>
                </a:tc>
                <a:tc hMerge="1">
                  <a:txBody>
                    <a:bodyPr/>
                    <a:lstStyle/>
                    <a:p>
                      <a:endParaRPr lang="en-US"/>
                    </a:p>
                  </a:txBody>
                  <a:tcPr/>
                </a:tc>
                <a:extLst>
                  <a:ext uri="{0D108BD9-81ED-4DB2-BD59-A6C34878D82A}">
                    <a16:rowId xmlns:a16="http://schemas.microsoft.com/office/drawing/2014/main" val="4103858669"/>
                  </a:ext>
                </a:extLst>
              </a:tr>
              <a:tr h="1371600">
                <a:tc vMerge="1">
                  <a:txBody>
                    <a:bodyPr/>
                    <a:lstStyle/>
                    <a:p>
                      <a:pPr algn="ctr"/>
                      <a:endParaRPr lang="en-US"/>
                    </a:p>
                  </a:txBody>
                  <a:tcP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Persona-Based Copilots </a:t>
                      </a:r>
                      <a:r>
                        <a:rPr lang="en-US" sz="100">
                          <a:ln w="3175">
                            <a:noFill/>
                          </a:ln>
                          <a:solidFill>
                            <a:schemeClr val="bg1">
                              <a:alpha val="0"/>
                            </a:schemeClr>
                          </a:solidFill>
                        </a:rPr>
                        <a:t>Enhance</a:t>
                      </a:r>
                      <a:endParaRPr kumimoji="0" lang="en-US" sz="100" b="0" i="0" u="none" strike="noStrike" kern="1200" cap="none" spc="0" normalizeH="0" baseline="0" noProof="0">
                        <a:ln>
                          <a:noFill/>
                        </a:ln>
                        <a:solidFill>
                          <a:schemeClr val="bg1">
                            <a:alpha val="0"/>
                          </a:schemeClr>
                        </a:solidFill>
                        <a:effectLst/>
                        <a:uLnTx/>
                        <a:uFillTx/>
                        <a:latin typeface="+mj-lt"/>
                        <a:ea typeface="+mj-ea"/>
                        <a:cs typeface="+mj-cs"/>
                      </a:endParaRPr>
                    </a:p>
                  </a:txBody>
                  <a:tcPr marT="91440" marB="182880" anchor="b">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Microsoft 365 Copilot </a:t>
                      </a:r>
                      <a:r>
                        <a:rPr lang="en-US" sz="100" kern="1200">
                          <a:ln w="3175">
                            <a:noFill/>
                          </a:ln>
                          <a:solidFill>
                            <a:schemeClr val="bg1">
                              <a:alpha val="0"/>
                            </a:schemeClr>
                          </a:solidFill>
                          <a:latin typeface="+mn-lt"/>
                          <a:ea typeface="+mn-ea"/>
                          <a:cs typeface="+mn-cs"/>
                        </a:rPr>
                        <a:t>Extend</a:t>
                      </a:r>
                      <a:endParaRPr lang="en-US" sz="100" kern="1200" noProof="0">
                        <a:ln w="3175">
                          <a:noFill/>
                        </a:ln>
                        <a:solidFill>
                          <a:schemeClr val="bg1">
                            <a:alpha val="0"/>
                          </a:schemeClr>
                        </a:solidFill>
                        <a:latin typeface="+mn-lt"/>
                        <a:ea typeface="+mn-ea"/>
                        <a:cs typeface="+mn-cs"/>
                      </a:endParaRPr>
                    </a:p>
                  </a:txBody>
                  <a:tcPr marT="91440" marB="182880" anchor="b">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Copilot Studio </a:t>
                      </a:r>
                      <a:r>
                        <a:rPr lang="en-US" sz="100" kern="1200">
                          <a:ln w="3175">
                            <a:noFill/>
                          </a:ln>
                          <a:solidFill>
                            <a:schemeClr val="bg1">
                              <a:alpha val="0"/>
                            </a:schemeClr>
                          </a:solidFill>
                          <a:latin typeface="+mn-lt"/>
                          <a:ea typeface="+mn-ea"/>
                          <a:cs typeface="+mn-cs"/>
                        </a:rPr>
                        <a:t>Integrate</a:t>
                      </a:r>
                      <a:endParaRPr lang="en-US" sz="100" kern="1200" noProof="0">
                        <a:ln w="3175">
                          <a:noFill/>
                        </a:ln>
                        <a:solidFill>
                          <a:schemeClr val="bg1">
                            <a:alpha val="0"/>
                          </a:schemeClr>
                        </a:solidFill>
                        <a:latin typeface="+mn-lt"/>
                        <a:ea typeface="+mn-ea"/>
                        <a:cs typeface="+mn-cs"/>
                      </a:endParaRPr>
                    </a:p>
                  </a:txBody>
                  <a:tcPr marT="91440" marB="182880" anchor="b">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Azure AI Foundry</a:t>
                      </a:r>
                    </a:p>
                  </a:txBody>
                  <a:tcPr marT="91440" marB="182880" anchor="b">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noFill/>
                      <a:prstDash val="dash"/>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11373843"/>
                  </a:ext>
                </a:extLst>
              </a:tr>
              <a:tr h="36576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Licensing</a:t>
                      </a:r>
                    </a:p>
                  </a:txBody>
                  <a:tcPr anchor="ctr">
                    <a:lnL w="12700" cmpd="sng">
                      <a:noFill/>
                    </a:lnL>
                    <a:lnR w="6350" cap="flat" cmpd="sng" algn="ctr">
                      <a:solidFill>
                        <a:srgbClr val="FFFFFF">
                          <a:alpha val="50196"/>
                        </a:srgb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Per User</a:t>
                      </a:r>
                    </a:p>
                  </a:txBody>
                  <a:tcPr anchor="ctr">
                    <a:lnL w="6350" cap="flat" cmpd="sng" algn="ctr">
                      <a:solidFill>
                        <a:srgbClr val="FFFFFF">
                          <a:alpha val="5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Per User*</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PAYG or Capacity Pack</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Azure Services Meters</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201404415"/>
                  </a:ext>
                </a:extLst>
              </a:tr>
              <a:tr h="36576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Stories</a:t>
                      </a:r>
                    </a:p>
                  </a:txBody>
                  <a:tcPr anchor="ctr">
                    <a:lnL w="12700" cmpd="sng">
                      <a:noFill/>
                    </a:lnL>
                    <a:lnR w="6350" cap="flat" cmpd="sng" algn="ctr">
                      <a:solidFill>
                        <a:srgbClr val="FFFFFF">
                          <a:alpha val="50196"/>
                        </a:srgb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kern="1200">
                          <a:ln w="3175">
                            <a:noFill/>
                          </a:ln>
                          <a:solidFill>
                            <a:schemeClr val="accent3">
                              <a:lumMod val="60000"/>
                              <a:lumOff val="40000"/>
                            </a:schemeClr>
                          </a:solidFill>
                          <a:latin typeface="+mn-lt"/>
                          <a:ea typeface="+mn-ea"/>
                          <a:cs typeface="+mn-cs"/>
                          <a:hlinkClick r:id="rId3">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marR="457200" anchor="ctr">
                    <a:lnL w="6350" cap="flat" cmpd="sng" algn="ctr">
                      <a:solidFill>
                        <a:srgbClr val="FFFFFF">
                          <a:alpha val="50196"/>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a:ln w="3175">
                            <a:noFill/>
                          </a:ln>
                          <a:solidFill>
                            <a:schemeClr val="accent3">
                              <a:lumMod val="60000"/>
                              <a:lumOff val="40000"/>
                            </a:schemeClr>
                          </a:solidFill>
                          <a:hlinkClick r:id="rId4">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ase">
                        <a:spcBef>
                          <a:spcPct val="0"/>
                        </a:spcBef>
                        <a:spcAft>
                          <a:spcPct val="0"/>
                        </a:spcAft>
                      </a:pPr>
                      <a:endParaRPr lang="en-US" sz="1200">
                        <a:ln w="3175">
                          <a:noFill/>
                        </a:ln>
                        <a:solidFill>
                          <a:schemeClr val="accent3">
                            <a:lumMod val="60000"/>
                            <a:lumOff val="40000"/>
                          </a:schemeClr>
                        </a:solidFill>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Bef>
                          <a:spcPct val="0"/>
                        </a:spcBef>
                        <a:spcAft>
                          <a:spcPct val="0"/>
                        </a:spcAft>
                      </a:pPr>
                      <a:r>
                        <a:rPr lang="en-US" sz="1200" kern="1200">
                          <a:ln w="3175">
                            <a:noFill/>
                          </a:ln>
                          <a:solidFill>
                            <a:schemeClr val="accent3">
                              <a:lumMod val="60000"/>
                              <a:lumOff val="40000"/>
                            </a:schemeClr>
                          </a:solidFill>
                          <a:latin typeface="+mn-lt"/>
                          <a:ea typeface="+mn-ea"/>
                          <a:cs typeface="+mn-cs"/>
                          <a:hlinkClick r:id="rId5">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ase">
                        <a:spcBef>
                          <a:spcPct val="0"/>
                        </a:spcBef>
                        <a:spcAft>
                          <a:spcPct val="0"/>
                        </a:spcAft>
                      </a:pPr>
                      <a:r>
                        <a:rPr lang="en-US" sz="1200">
                          <a:ln w="3175">
                            <a:noFill/>
                          </a:ln>
                          <a:solidFill>
                            <a:schemeClr val="accent3">
                              <a:lumMod val="60000"/>
                              <a:lumOff val="40000"/>
                            </a:schemeClr>
                          </a:solidFill>
                          <a:hlinkClick r:id="rId4">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ase">
                        <a:spcBef>
                          <a:spcPct val="0"/>
                        </a:spcBef>
                        <a:spcAft>
                          <a:spcPct val="0"/>
                        </a:spcAft>
                      </a:pPr>
                      <a:endParaRPr lang="en-US" sz="1200">
                        <a:ln w="3175">
                          <a:noFill/>
                        </a:ln>
                        <a:solidFill>
                          <a:schemeClr val="accent3">
                            <a:lumMod val="60000"/>
                            <a:lumOff val="40000"/>
                          </a:schemeClr>
                        </a:solidFill>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spcBef>
                          <a:spcPct val="0"/>
                        </a:spcBef>
                        <a:spcAft>
                          <a:spcPct val="0"/>
                        </a:spcAft>
                      </a:pPr>
                      <a:r>
                        <a:rPr lang="en-US" sz="1200" kern="1200">
                          <a:ln w="3175">
                            <a:noFill/>
                          </a:ln>
                          <a:solidFill>
                            <a:schemeClr val="accent3">
                              <a:lumMod val="60000"/>
                              <a:lumOff val="40000"/>
                            </a:schemeClr>
                          </a:solidFill>
                          <a:latin typeface="+mn-lt"/>
                          <a:ea typeface="+mn-ea"/>
                          <a:cs typeface="+mn-cs"/>
                          <a:hlinkClick r:id="rId6">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marL="3200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defTabSz="932742"/>
                      <a:r>
                        <a:rPr lang="en-US" sz="1200">
                          <a:ln w="3175">
                            <a:noFill/>
                          </a:ln>
                          <a:solidFill>
                            <a:schemeClr val="accent3">
                              <a:lumMod val="60000"/>
                              <a:lumOff val="40000"/>
                            </a:schemeClr>
                          </a:solidFill>
                          <a:hlinkClick r:id="rId4">
                            <a:extLst>
                              <a:ext uri="{A12FA001-AC4F-418D-AE19-62706E023703}">
                                <ahyp:hlinkClr xmlns:ahyp="http://schemas.microsoft.com/office/drawing/2018/hyperlinkcolor" val="tx"/>
                              </a:ext>
                            </a:extLst>
                          </a:hlinkClick>
                        </a:rPr>
                        <a:t>Link</a:t>
                      </a:r>
                      <a:endParaRPr lang="en-US" sz="1200">
                        <a:ln w="3175">
                          <a:noFill/>
                        </a:ln>
                        <a:solidFill>
                          <a:schemeClr val="accent3">
                            <a:lumMod val="60000"/>
                            <a:lumOff val="40000"/>
                          </a:schemeClr>
                        </a:solidFill>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ase">
                        <a:spcBef>
                          <a:spcPct val="0"/>
                        </a:spcBef>
                        <a:spcAft>
                          <a:spcPct val="0"/>
                        </a:spcAft>
                      </a:pPr>
                      <a:endParaRPr lang="en-US" sz="1200">
                        <a:ln w="3175">
                          <a:noFill/>
                        </a:ln>
                        <a:solidFill>
                          <a:schemeClr val="accent3">
                            <a:lumMod val="60000"/>
                            <a:lumOff val="40000"/>
                          </a:schemeClr>
                        </a:solidFill>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spcBef>
                          <a:spcPct val="0"/>
                        </a:spcBef>
                        <a:spcAft>
                          <a:spcPct val="0"/>
                        </a:spcAft>
                      </a:pPr>
                      <a:r>
                        <a:rPr lang="en-US" sz="1200" kern="1200">
                          <a:ln w="3175">
                            <a:noFill/>
                          </a:ln>
                          <a:solidFill>
                            <a:schemeClr val="accent3">
                              <a:lumMod val="60000"/>
                              <a:lumOff val="40000"/>
                            </a:schemeClr>
                          </a:solidFill>
                          <a:latin typeface="+mn-lt"/>
                          <a:ea typeface="+mn-ea"/>
                          <a:cs typeface="+mn-cs"/>
                          <a:hlinkClick r:id="rId7">
                            <a:extLst>
                              <a:ext uri="{A12FA001-AC4F-418D-AE19-62706E023703}">
                                <ahyp:hlinkClr xmlns:ahyp="http://schemas.microsoft.com/office/drawing/2018/hyperlinkcolor" val="tx"/>
                              </a:ext>
                            </a:extLst>
                          </a:hlinkClick>
                        </a:rPr>
                        <a:t>Link</a:t>
                      </a:r>
                      <a:endParaRPr lang="en-US" sz="1200" kern="1200">
                        <a:ln w="3175">
                          <a:noFill/>
                        </a:ln>
                        <a:solidFill>
                          <a:schemeClr val="accent3">
                            <a:lumMod val="60000"/>
                            <a:lumOff val="40000"/>
                          </a:schemeClr>
                        </a:solidFill>
                        <a:latin typeface="+mn-lt"/>
                        <a:ea typeface="+mn-ea"/>
                        <a:cs typeface="+mn-cs"/>
                      </a:endParaRPr>
                    </a:p>
                  </a:txBody>
                  <a:tcPr marL="502920" anchor="ctr">
                    <a:lnL w="12700" cap="flat" cmpd="sng" algn="ctr">
                      <a:no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4316610"/>
                  </a:ext>
                </a:extLst>
              </a:tr>
              <a:tr h="36576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Persona</a:t>
                      </a:r>
                    </a:p>
                  </a:txBody>
                  <a:tcPr anchor="ctr">
                    <a:lnL w="12700" cmpd="sng">
                      <a:noFill/>
                    </a:lnL>
                    <a:lnR w="6350" cap="flat" cmpd="sng" algn="ctr">
                      <a:solidFill>
                        <a:srgbClr val="FFFFFF">
                          <a:alpha val="50196"/>
                        </a:srgb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Line-of-Business Owner</a:t>
                      </a:r>
                    </a:p>
                  </a:txBody>
                  <a:tcPr anchor="ctr">
                    <a:lnL w="6350" cap="flat" cmpd="sng" algn="ctr">
                      <a:solidFill>
                        <a:srgbClr val="FFFFFF">
                          <a:alpha val="5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Knowledge Worker</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Power User</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n-lt"/>
                          <a:ea typeface="+mn-ea"/>
                          <a:cs typeface="+mn-cs"/>
                        </a:rPr>
                        <a:t>Developer</a:t>
                      </a: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941537062"/>
                  </a:ext>
                </a:extLst>
              </a:tr>
              <a:tr h="36576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Out-of-box Value</a:t>
                      </a:r>
                    </a:p>
                  </a:txBody>
                  <a:tcPr anchor="ctr">
                    <a:lnL w="12700" cmpd="sng">
                      <a:noFill/>
                    </a:lnL>
                    <a:lnR w="6350" cap="flat" cmpd="sng" algn="ctr">
                      <a:solidFill>
                        <a:srgbClr val="FFFFFF">
                          <a:alpha val="50196"/>
                        </a:srgb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5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815178702"/>
                  </a:ext>
                </a:extLst>
              </a:tr>
              <a:tr h="36576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mj-lt"/>
                          <a:ea typeface="+mj-ea"/>
                          <a:cs typeface="+mj-cs"/>
                        </a:rPr>
                        <a:t>Customization</a:t>
                      </a:r>
                    </a:p>
                  </a:txBody>
                  <a:tcPr anchor="ctr">
                    <a:lnL w="12700" cmpd="sng">
                      <a:noFill/>
                    </a:lnL>
                    <a:lnR w="6350" cap="flat" cmpd="sng" algn="ctr">
                      <a:solidFill>
                        <a:srgbClr val="FFFFFF">
                          <a:alpha val="50196"/>
                        </a:srgb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5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bg1"/>
                          </a:solidFill>
                          <a:effectLst/>
                          <a:uLnTx/>
                          <a:uFillTx/>
                          <a:latin typeface="+mn-lt"/>
                          <a:ea typeface="+mn-ea"/>
                          <a:cs typeface="+mn-cs"/>
                          <a:sym typeface="Wingdings" panose="05000000000000000000" pitchFamily="2" charset="2"/>
                        </a:rPr>
                        <a:t></a:t>
                      </a:r>
                      <a:endParaRPr kumimoji="0" lang="en-US" sz="1200"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rgbClr val="FFFFFF">
                          <a:alpha val="30196"/>
                        </a:srgbClr>
                      </a:solidFill>
                      <a:prstDash val="solid"/>
                      <a:round/>
                      <a:headEnd type="none" w="med" len="med"/>
                      <a:tailEnd type="none" w="med" len="med"/>
                    </a:lnL>
                    <a:lnR w="6350" cap="flat" cmpd="sng" algn="ctr">
                      <a:solidFill>
                        <a:srgbClr val="FFFFFF">
                          <a:alpha val="30196"/>
                        </a:srgbClr>
                      </a:solidFill>
                      <a:prstDash val="solid"/>
                      <a:round/>
                      <a:headEnd type="none" w="med" len="med"/>
                      <a:tailEnd type="none" w="med" len="med"/>
                    </a:lnR>
                    <a:lnT w="6350" cap="flat" cmpd="sng" algn="ctr">
                      <a:solidFill>
                        <a:srgbClr val="FFFFFF">
                          <a:alpha val="30196"/>
                        </a:srgbClr>
                      </a:solidFill>
                      <a:prstDash val="solid"/>
                      <a:round/>
                      <a:headEnd type="none" w="med" len="med"/>
                      <a:tailEnd type="none" w="med" len="med"/>
                    </a:lnT>
                    <a:lnB w="6350" cap="flat" cmpd="sng" algn="ctr">
                      <a:solidFill>
                        <a:srgbClr val="FFFFFF">
                          <a:alpha val="30196"/>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119680862"/>
                  </a:ext>
                </a:extLst>
              </a:tr>
            </a:tbl>
          </a:graphicData>
        </a:graphic>
      </p:graphicFrame>
      <p:pic>
        <p:nvPicPr>
          <p:cNvPr id="8" name="!Copilot">
            <a:extLst>
              <a:ext uri="{FF2B5EF4-FFF2-40B4-BE49-F238E27FC236}">
                <a16:creationId xmlns:a16="http://schemas.microsoft.com/office/drawing/2014/main" id="{BC7B0EFF-7823-7DC9-8B02-94015CF68C3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413366" y="3000293"/>
            <a:ext cx="339254" cy="339254"/>
          </a:xfrm>
          <a:prstGeom prst="rect">
            <a:avLst/>
          </a:prstGeom>
          <a:noFill/>
          <a:ln>
            <a:noFill/>
            <a:headEnd type="none" w="med" len="med"/>
            <a:tailEnd type="none" w="med" len="med"/>
          </a:ln>
          <a:effectLst>
            <a:outerShdw blurRad="50800" dist="38100" dir="5400000" algn="t" rotWithShape="0">
              <a:prstClr val="black">
                <a:alpha val="40000"/>
              </a:prstClr>
            </a:outerShdw>
          </a:effectLst>
        </p:spPr>
      </p:pic>
      <p:pic>
        <p:nvPicPr>
          <p:cNvPr id="7" name="Picture 2">
            <a:extLst>
              <a:ext uri="{FF2B5EF4-FFF2-40B4-BE49-F238E27FC236}">
                <a16:creationId xmlns:a16="http://schemas.microsoft.com/office/drawing/2014/main" id="{47BF3073-C707-3931-9433-11B0CF9E968D}"/>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15039" y="3000293"/>
            <a:ext cx="356268" cy="33925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B4B29287-B53F-4A72-F609-FBCFF2FC522C}"/>
              </a:ext>
              <a:ext uri="{C183D7F6-B498-43B3-948B-1728B52AA6E4}">
                <adec:decorative xmlns:adec="http://schemas.microsoft.com/office/drawing/2017/decorative" val="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6584" t="6583" r="6584" b="6583"/>
          <a:stretch/>
        </p:blipFill>
        <p:spPr>
          <a:xfrm>
            <a:off x="10234224" y="3000293"/>
            <a:ext cx="339254" cy="339254"/>
          </a:xfrm>
          <a:prstGeom prst="rect">
            <a:avLst/>
          </a:prstGeom>
          <a:effectLst>
            <a:outerShdw blurRad="50800" dist="38100" dir="5400000" algn="t" rotWithShape="0">
              <a:prstClr val="black">
                <a:alpha val="40000"/>
              </a:prstClr>
            </a:outerShdw>
          </a:effectLst>
        </p:spPr>
      </p:pic>
      <p:pic>
        <p:nvPicPr>
          <p:cNvPr id="9" name="Graphic 8">
            <a:extLst>
              <a:ext uri="{FF2B5EF4-FFF2-40B4-BE49-F238E27FC236}">
                <a16:creationId xmlns:a16="http://schemas.microsoft.com/office/drawing/2014/main" id="{EDF68438-0994-6690-F319-65EC2044CC8C}"/>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702273" y="3000293"/>
            <a:ext cx="338400" cy="339254"/>
          </a:xfrm>
          <a:prstGeom prst="rect">
            <a:avLst/>
          </a:prstGeom>
          <a:effectLst>
            <a:outerShdw blurRad="50800" dist="38100" dir="5400000" algn="t" rotWithShape="0">
              <a:prstClr val="black">
                <a:alpha val="40000"/>
              </a:prstClr>
            </a:outerShdw>
          </a:effectLst>
        </p:spPr>
      </p:pic>
      <p:pic>
        <p:nvPicPr>
          <p:cNvPr id="61" name="Graphic 60">
            <a:extLst>
              <a:ext uri="{FF2B5EF4-FFF2-40B4-BE49-F238E27FC236}">
                <a16:creationId xmlns:a16="http://schemas.microsoft.com/office/drawing/2014/main" id="{0B18BEF8-1A6D-CB7C-FF2F-2E50FB52A344}"/>
              </a:ext>
              <a:ext uri="{C183D7F6-B498-43B3-948B-1728B52AA6E4}">
                <adec:decorative xmlns:adec="http://schemas.microsoft.com/office/drawing/2017/decorative" val="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3265787" y="3000293"/>
            <a:ext cx="339254" cy="339254"/>
          </a:xfrm>
          <a:prstGeom prst="rect">
            <a:avLst/>
          </a:prstGeom>
          <a:effectLst>
            <a:outerShdw blurRad="50800" dist="38100" dir="5400000" algn="t" rotWithShape="0">
              <a:prstClr val="black">
                <a:alpha val="40000"/>
              </a:prstClr>
            </a:outerShdw>
          </a:effectLst>
        </p:spPr>
      </p:pic>
      <p:sp>
        <p:nvSpPr>
          <p:cNvPr id="31" name="Right Brace 30">
            <a:extLst>
              <a:ext uri="{FF2B5EF4-FFF2-40B4-BE49-F238E27FC236}">
                <a16:creationId xmlns:a16="http://schemas.microsoft.com/office/drawing/2014/main" id="{7F3976A4-FAFF-2FBA-1C0F-A286CBFB7FC2}"/>
              </a:ext>
              <a:ext uri="{C183D7F6-B498-43B3-948B-1728B52AA6E4}">
                <adec:decorative xmlns:adec="http://schemas.microsoft.com/office/drawing/2017/decorative" val="1"/>
              </a:ext>
            </a:extLst>
          </p:cNvPr>
          <p:cNvSpPr>
            <a:spLocks/>
          </p:cNvSpPr>
          <p:nvPr/>
        </p:nvSpPr>
        <p:spPr>
          <a:xfrm rot="5400000">
            <a:off x="6005472" y="1029515"/>
            <a:ext cx="184233" cy="9832980"/>
          </a:xfrm>
          <a:prstGeom prst="rightBrace">
            <a:avLst>
              <a:gd name="adj1" fmla="val 53715"/>
              <a:gd name="adj2" fmla="val 50000"/>
            </a:avLst>
          </a:prstGeom>
          <a:ln w="12700">
            <a:solidFill>
              <a:schemeClr val="bg1">
                <a:alpha val="31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5" name="purview">
            <a:extLst>
              <a:ext uri="{FF2B5EF4-FFF2-40B4-BE49-F238E27FC236}">
                <a16:creationId xmlns:a16="http://schemas.microsoft.com/office/drawing/2014/main" id="{5FA7BD9F-28A2-FC5C-AF9C-94CBB84C4846}"/>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7204910" y="6120306"/>
            <a:ext cx="315414" cy="303580"/>
          </a:xfrm>
          <a:prstGeom prst="rect">
            <a:avLst/>
          </a:prstGeom>
        </p:spPr>
      </p:pic>
      <p:pic>
        <p:nvPicPr>
          <p:cNvPr id="11" name="Picture 10">
            <a:extLst>
              <a:ext uri="{FF2B5EF4-FFF2-40B4-BE49-F238E27FC236}">
                <a16:creationId xmlns:a16="http://schemas.microsoft.com/office/drawing/2014/main" id="{F6C02EB2-FBC6-6D24-43B7-F7352F13C8E5}"/>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674853" y="6134936"/>
            <a:ext cx="274320" cy="274320"/>
          </a:xfrm>
          <a:prstGeom prst="rect">
            <a:avLst/>
          </a:prstGeom>
        </p:spPr>
      </p:pic>
      <p:sp>
        <p:nvSpPr>
          <p:cNvPr id="24" name="Rectangle 23">
            <a:extLst>
              <a:ext uri="{FF2B5EF4-FFF2-40B4-BE49-F238E27FC236}">
                <a16:creationId xmlns:a16="http://schemas.microsoft.com/office/drawing/2014/main" id="{ABB6F3D9-8A5B-2B5E-DE42-D4B12F873E58}"/>
              </a:ext>
            </a:extLst>
          </p:cNvPr>
          <p:cNvSpPr/>
          <p:nvPr/>
        </p:nvSpPr>
        <p:spPr>
          <a:xfrm>
            <a:off x="4968223" y="6179763"/>
            <a:ext cx="2213788" cy="184666"/>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0" i="0" u="none" strike="noStrike" kern="1200" cap="none" spc="0" normalizeH="0" baseline="0" noProof="0">
                <a:ln>
                  <a:noFill/>
                </a:ln>
                <a:solidFill>
                  <a:srgbClr val="FFFFFF"/>
                </a:solidFill>
                <a:effectLst/>
                <a:uLnTx/>
                <a:uFillTx/>
                <a:latin typeface="Segoe Sans Display"/>
                <a:ea typeface="+mn-ea"/>
                <a:cs typeface="+mn-cs"/>
              </a:rPr>
              <a:t>Integrate with Fabric + Purview</a:t>
            </a:r>
            <a:endParaRPr kumimoji="0" lang="it-IT" sz="1200" b="1" i="0" u="none" strike="noStrike" kern="1200" cap="none" spc="0" normalizeH="0" baseline="0" noProof="0">
              <a:ln>
                <a:noFill/>
              </a:ln>
              <a:solidFill>
                <a:srgbClr val="FFFFFF"/>
              </a:solidFill>
              <a:effectLst/>
              <a:uLnTx/>
              <a:uFillTx/>
              <a:latin typeface="Segoe Sans Display"/>
              <a:ea typeface="+mn-ea"/>
              <a:cs typeface="+mn-cs"/>
            </a:endParaRPr>
          </a:p>
        </p:txBody>
      </p:sp>
      <p:sp>
        <p:nvSpPr>
          <p:cNvPr id="12" name="Arrow: Left-Right 11">
            <a:extLst>
              <a:ext uri="{FF2B5EF4-FFF2-40B4-BE49-F238E27FC236}">
                <a16:creationId xmlns:a16="http://schemas.microsoft.com/office/drawing/2014/main" id="{0178FB87-BCAC-7719-070E-692F7AF0265A}"/>
              </a:ext>
              <a:ext uri="{C183D7F6-B498-43B3-948B-1728B52AA6E4}">
                <adec:decorative xmlns:adec="http://schemas.microsoft.com/office/drawing/2017/decorative" val="1"/>
              </a:ext>
            </a:extLst>
          </p:cNvPr>
          <p:cNvSpPr/>
          <p:nvPr/>
        </p:nvSpPr>
        <p:spPr>
          <a:xfrm>
            <a:off x="3843646" y="2994166"/>
            <a:ext cx="1068930" cy="351508"/>
          </a:xfrm>
          <a:prstGeom prst="leftRightArrow">
            <a:avLst>
              <a:gd name="adj1" fmla="val 67909"/>
              <a:gd name="adj2" fmla="val 57357"/>
            </a:avLst>
          </a:prstGeom>
          <a:solidFill>
            <a:srgbClr val="071C27"/>
          </a:solidFill>
          <a:ln w="12700" cap="rnd">
            <a:gradFill flip="none" rotWithShape="1">
              <a:gsLst>
                <a:gs pos="80000">
                  <a:schemeClr val="accent2"/>
                </a:gs>
                <a:gs pos="0">
                  <a:schemeClr val="accent3"/>
                </a:gs>
              </a:gsLst>
              <a:lin ang="2700000" scaled="1"/>
              <a:tileRect/>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73" rtl="0" eaLnBrk="1" fontAlgn="base" latinLnBrk="0" hangingPunct="1">
              <a:lnSpc>
                <a:spcPct val="100000"/>
              </a:lnSpc>
              <a:spcBef>
                <a:spcPct val="0"/>
              </a:spcBef>
              <a:spcAft>
                <a:spcPts val="1200"/>
              </a:spcAft>
              <a:buClrTx/>
              <a:buSzPct val="90000"/>
              <a:buFontTx/>
              <a:buNone/>
              <a:tabLst>
                <a:tab pos="1371710" algn="l"/>
              </a:tabLst>
              <a:defRPr/>
            </a:pPr>
            <a:r>
              <a:rPr kumimoji="0" lang="en-US" sz="1200" b="0" i="0" u="none" strike="noStrike" kern="1200" cap="none" spc="0" normalizeH="0" baseline="0" noProof="0">
                <a:ln w="3175">
                  <a:noFill/>
                </a:ln>
                <a:solidFill>
                  <a:srgbClr val="FFFFFF"/>
                </a:solidFill>
                <a:effectLst/>
                <a:uLnTx/>
                <a:uFillTx/>
                <a:latin typeface="Segoe Sans Display"/>
                <a:ea typeface="+mn-ea"/>
                <a:cs typeface="+mn-cs"/>
              </a:rPr>
              <a:t>Enhance</a:t>
            </a:r>
          </a:p>
        </p:txBody>
      </p:sp>
      <p:sp>
        <p:nvSpPr>
          <p:cNvPr id="19" name="Arrow: Left-Right 18">
            <a:extLst>
              <a:ext uri="{FF2B5EF4-FFF2-40B4-BE49-F238E27FC236}">
                <a16:creationId xmlns:a16="http://schemas.microsoft.com/office/drawing/2014/main" id="{339975A7-22A6-3320-EB91-D86CC56106CA}"/>
              </a:ext>
              <a:ext uri="{C183D7F6-B498-43B3-948B-1728B52AA6E4}">
                <adec:decorative xmlns:adec="http://schemas.microsoft.com/office/drawing/2017/decorative" val="1"/>
              </a:ext>
            </a:extLst>
          </p:cNvPr>
          <p:cNvSpPr/>
          <p:nvPr/>
        </p:nvSpPr>
        <p:spPr>
          <a:xfrm>
            <a:off x="6253410" y="2994166"/>
            <a:ext cx="1068930" cy="351508"/>
          </a:xfrm>
          <a:prstGeom prst="leftRightArrow">
            <a:avLst>
              <a:gd name="adj1" fmla="val 67909"/>
              <a:gd name="adj2" fmla="val 57357"/>
            </a:avLst>
          </a:prstGeom>
          <a:solidFill>
            <a:srgbClr val="071C27"/>
          </a:solidFill>
          <a:ln w="12700" cap="rnd">
            <a:gradFill flip="none" rotWithShape="1">
              <a:gsLst>
                <a:gs pos="80000">
                  <a:schemeClr val="accent2"/>
                </a:gs>
                <a:gs pos="0">
                  <a:schemeClr val="accent3"/>
                </a:gs>
              </a:gsLst>
              <a:lin ang="2700000" scaled="1"/>
              <a:tileRect/>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73" rtl="0" eaLnBrk="1" fontAlgn="base" latinLnBrk="0" hangingPunct="1">
              <a:lnSpc>
                <a:spcPct val="100000"/>
              </a:lnSpc>
              <a:spcBef>
                <a:spcPct val="0"/>
              </a:spcBef>
              <a:spcAft>
                <a:spcPts val="1200"/>
              </a:spcAft>
              <a:buClrTx/>
              <a:buSzPct val="90000"/>
              <a:buFontTx/>
              <a:buNone/>
              <a:tabLst>
                <a:tab pos="1371710" algn="l"/>
              </a:tabLst>
              <a:defRPr/>
            </a:pPr>
            <a:r>
              <a:rPr kumimoji="0" lang="en-US" sz="1200" b="0" i="0" u="none" strike="noStrike" kern="1200" cap="none" spc="0" normalizeH="0" baseline="0" noProof="0">
                <a:ln w="3175">
                  <a:noFill/>
                </a:ln>
                <a:solidFill>
                  <a:srgbClr val="FFFFFF"/>
                </a:solidFill>
                <a:effectLst/>
                <a:uLnTx/>
                <a:uFillTx/>
                <a:latin typeface="Segoe Sans Display"/>
                <a:ea typeface="+mn-ea"/>
                <a:cs typeface="+mn-cs"/>
              </a:rPr>
              <a:t>Extend</a:t>
            </a:r>
          </a:p>
        </p:txBody>
      </p:sp>
      <p:sp>
        <p:nvSpPr>
          <p:cNvPr id="20" name="Arrow: Left-Right 19">
            <a:extLst>
              <a:ext uri="{FF2B5EF4-FFF2-40B4-BE49-F238E27FC236}">
                <a16:creationId xmlns:a16="http://schemas.microsoft.com/office/drawing/2014/main" id="{8F34B9DF-8F93-7872-80AF-187D448E02AE}"/>
              </a:ext>
              <a:ext uri="{C183D7F6-B498-43B3-948B-1728B52AA6E4}">
                <adec:decorative xmlns:adec="http://schemas.microsoft.com/office/drawing/2017/decorative" val="1"/>
              </a:ext>
            </a:extLst>
          </p:cNvPr>
          <p:cNvSpPr/>
          <p:nvPr/>
        </p:nvSpPr>
        <p:spPr>
          <a:xfrm>
            <a:off x="8664006" y="2994166"/>
            <a:ext cx="1068930" cy="351508"/>
          </a:xfrm>
          <a:prstGeom prst="leftRightArrow">
            <a:avLst>
              <a:gd name="adj1" fmla="val 67909"/>
              <a:gd name="adj2" fmla="val 57357"/>
            </a:avLst>
          </a:prstGeom>
          <a:solidFill>
            <a:srgbClr val="071C27"/>
          </a:solidFill>
          <a:ln w="12700" cap="rnd">
            <a:gradFill flip="none" rotWithShape="1">
              <a:gsLst>
                <a:gs pos="80000">
                  <a:schemeClr val="accent2"/>
                </a:gs>
                <a:gs pos="0">
                  <a:schemeClr val="accent3"/>
                </a:gs>
              </a:gsLst>
              <a:lin ang="2700000" scaled="1"/>
              <a:tileRect/>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73" rtl="0" eaLnBrk="1" fontAlgn="base" latinLnBrk="0" hangingPunct="1">
              <a:lnSpc>
                <a:spcPct val="100000"/>
              </a:lnSpc>
              <a:spcBef>
                <a:spcPct val="0"/>
              </a:spcBef>
              <a:spcAft>
                <a:spcPts val="1200"/>
              </a:spcAft>
              <a:buClrTx/>
              <a:buSzPct val="90000"/>
              <a:buFontTx/>
              <a:buNone/>
              <a:tabLst>
                <a:tab pos="1371710" algn="l"/>
              </a:tabLst>
              <a:defRPr/>
            </a:pPr>
            <a:r>
              <a:rPr kumimoji="0" lang="en-US" sz="1200" b="0" i="0" u="none" strike="noStrike" kern="1200" cap="none" spc="0" normalizeH="0" baseline="0" noProof="0">
                <a:ln w="3175">
                  <a:noFill/>
                </a:ln>
                <a:solidFill>
                  <a:srgbClr val="FFFFFF"/>
                </a:solidFill>
                <a:effectLst/>
                <a:uLnTx/>
                <a:uFillTx/>
                <a:latin typeface="Segoe Sans Display"/>
                <a:ea typeface="+mn-ea"/>
                <a:cs typeface="+mn-cs"/>
              </a:rPr>
              <a:t>Integrate</a:t>
            </a:r>
          </a:p>
        </p:txBody>
      </p:sp>
      <p:sp>
        <p:nvSpPr>
          <p:cNvPr id="26" name="TextBox 25">
            <a:extLst>
              <a:ext uri="{FF2B5EF4-FFF2-40B4-BE49-F238E27FC236}">
                <a16:creationId xmlns:a16="http://schemas.microsoft.com/office/drawing/2014/main" id="{A1D6F5A5-8DCA-6586-A5E2-D252E2B067A0}"/>
              </a:ext>
            </a:extLst>
          </p:cNvPr>
          <p:cNvSpPr txBox="1"/>
          <p:nvPr/>
        </p:nvSpPr>
        <p:spPr>
          <a:xfrm>
            <a:off x="571502" y="6439364"/>
            <a:ext cx="323005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FFFFFF"/>
                </a:solidFill>
                <a:effectLst/>
                <a:uLnTx/>
                <a:uFillTx/>
                <a:latin typeface="Segoe Sans Display"/>
                <a:ea typeface="+mn-ea"/>
                <a:cs typeface="+mn-cs"/>
              </a:rPr>
              <a:t>* </a:t>
            </a:r>
            <a:r>
              <a:rPr kumimoji="0" lang="en-US" sz="800" b="0" i="1" u="none" strike="noStrike" kern="1200" cap="none" spc="0" normalizeH="0" baseline="0" noProof="0">
                <a:ln>
                  <a:noFill/>
                </a:ln>
                <a:solidFill>
                  <a:srgbClr val="091F2C">
                    <a:lumMod val="50000"/>
                    <a:lumOff val="50000"/>
                  </a:srgbClr>
                </a:solidFill>
                <a:effectLst/>
                <a:uLnTx/>
                <a:uFillTx/>
                <a:latin typeface="Segoe Sans Display"/>
                <a:ea typeface="+mn-ea"/>
                <a:cs typeface="+mn-cs"/>
                <a:hlinkClick r:id="rId19">
                  <a:extLst>
                    <a:ext uri="{A12FA001-AC4F-418D-AE19-62706E023703}">
                      <ahyp:hlinkClr xmlns:ahyp="http://schemas.microsoft.com/office/drawing/2018/hyperlinkcolor" val="tx"/>
                    </a:ext>
                  </a:extLst>
                </a:hlinkClick>
              </a:rPr>
              <a:t>Microsoft 365 Copilot Chat</a:t>
            </a:r>
            <a:r>
              <a:rPr kumimoji="0" lang="en-US" sz="800" b="0" i="1" u="none" strike="noStrike" kern="1200" cap="none" spc="0" normalizeH="0" baseline="0" noProof="0">
                <a:ln>
                  <a:noFill/>
                </a:ln>
                <a:solidFill>
                  <a:srgbClr val="091F2C">
                    <a:lumMod val="50000"/>
                    <a:lumOff val="50000"/>
                  </a:srgbClr>
                </a:solidFill>
                <a:effectLst/>
                <a:uLnTx/>
                <a:uFillTx/>
                <a:latin typeface="Segoe Sans Display"/>
                <a:ea typeface="+mn-ea"/>
                <a:cs typeface="+mn-cs"/>
              </a:rPr>
              <a:t> </a:t>
            </a:r>
            <a:r>
              <a:rPr kumimoji="0" lang="en-US" sz="800" b="0" i="1" u="none" strike="noStrike" kern="1200" cap="none" spc="0" normalizeH="0" baseline="0" noProof="0">
                <a:ln>
                  <a:noFill/>
                </a:ln>
                <a:solidFill>
                  <a:srgbClr val="FFFFFF"/>
                </a:solidFill>
                <a:effectLst/>
                <a:uLnTx/>
                <a:uFillTx/>
                <a:latin typeface="Segoe Sans Display"/>
                <a:ea typeface="+mn-ea"/>
                <a:cs typeface="+mn-cs"/>
              </a:rPr>
              <a:t>advanced Agent Capabilities requires Copilot Studio Messages</a:t>
            </a:r>
            <a:endParaRPr kumimoji="0" lang="en-US" sz="105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90154496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1F040-5943-D88C-CED0-C7CB7355B5C5}"/>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AB6912C-5BA7-A9F7-0BB7-87F5A877003B}"/>
              </a:ext>
              <a:ext uri="{C183D7F6-B498-43B3-948B-1728B52AA6E4}">
                <adec:decorative xmlns:adec="http://schemas.microsoft.com/office/drawing/2017/decorative" val="1"/>
              </a:ext>
            </a:extLst>
          </p:cNvPr>
          <p:cNvSpPr>
            <a:spLocks/>
          </p:cNvSpPr>
          <p:nvPr/>
        </p:nvSpPr>
        <p:spPr>
          <a:xfrm>
            <a:off x="215900" y="241301"/>
            <a:ext cx="11760200" cy="6375398"/>
          </a:xfrm>
          <a:prstGeom prst="roundRect">
            <a:avLst>
              <a:gd name="adj" fmla="val 1926"/>
            </a:avLst>
          </a:prstGeom>
          <a:solidFill>
            <a:srgbClr val="0F344A">
              <a:alpha val="50000"/>
            </a:srgbClr>
          </a:solidFill>
          <a:ln w="635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274" rtl="0" eaLnBrk="1" fontAlgn="base" latinLnBrk="0" hangingPunct="1">
              <a:lnSpc>
                <a:spcPct val="100000"/>
              </a:lnSpc>
              <a:spcBef>
                <a:spcPct val="0"/>
              </a:spcBef>
              <a:spcAft>
                <a:spcPts val="400"/>
              </a:spcAft>
              <a:buClrTx/>
              <a:buSzTx/>
              <a:buFontTx/>
              <a:buNone/>
              <a:tabLst/>
              <a:defRPr/>
            </a:pPr>
            <a:endParaRPr kumimoji="0" lang="en-US" sz="1400" b="0" i="0" u="none" strike="noStrike" kern="0" cap="none" spc="0" normalizeH="0" baseline="0" noProof="0">
              <a:ln>
                <a:noFill/>
              </a:ln>
              <a:solidFill>
                <a:srgbClr val="0078D4">
                  <a:lumMod val="40000"/>
                  <a:lumOff val="60000"/>
                </a:srgbClr>
              </a:solidFill>
              <a:effectLst/>
              <a:uLnTx/>
              <a:uFillTx/>
              <a:latin typeface="Segoe Sans Display Semibold"/>
              <a:ea typeface="+mn-ea"/>
              <a:cs typeface="Segoe UI" pitchFamily="34" charset="0"/>
            </a:endParaRPr>
          </a:p>
        </p:txBody>
      </p:sp>
      <p:sp>
        <p:nvSpPr>
          <p:cNvPr id="3" name="Rectangle: Single Corner Rounded 2">
            <a:extLst>
              <a:ext uri="{FF2B5EF4-FFF2-40B4-BE49-F238E27FC236}">
                <a16:creationId xmlns:a16="http://schemas.microsoft.com/office/drawing/2014/main" id="{0C694006-A2AC-F7FA-B455-49800CF27FE4}"/>
              </a:ext>
              <a:ext uri="{C183D7F6-B498-43B3-948B-1728B52AA6E4}">
                <adec:decorative xmlns:adec="http://schemas.microsoft.com/office/drawing/2017/decorative" val="1"/>
              </a:ext>
            </a:extLst>
          </p:cNvPr>
          <p:cNvSpPr>
            <a:spLocks/>
          </p:cNvSpPr>
          <p:nvPr/>
        </p:nvSpPr>
        <p:spPr>
          <a:xfrm flipV="1">
            <a:off x="0" y="-3"/>
            <a:ext cx="3600450" cy="1428751"/>
          </a:xfrm>
          <a:prstGeom prst="round1Rect">
            <a:avLst/>
          </a:prstGeom>
          <a:solidFill>
            <a:srgbClr val="08131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7"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Sans Display Semibold"/>
              <a:ea typeface="+mn-ea"/>
              <a:cs typeface="+mn-cs"/>
            </a:endParaRPr>
          </a:p>
        </p:txBody>
      </p:sp>
      <p:pic>
        <p:nvPicPr>
          <p:cNvPr id="4" name="Graphic 3">
            <a:extLst>
              <a:ext uri="{FF2B5EF4-FFF2-40B4-BE49-F238E27FC236}">
                <a16:creationId xmlns:a16="http://schemas.microsoft.com/office/drawing/2014/main" id="{197F2D73-F499-8D5A-D94C-3ED60DFC258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07244" y="3439544"/>
            <a:ext cx="810322" cy="810321"/>
          </a:xfrm>
          <a:prstGeom prst="rect">
            <a:avLst/>
          </a:prstGeom>
        </p:spPr>
      </p:pic>
      <p:pic>
        <p:nvPicPr>
          <p:cNvPr id="5" name="Picture 4">
            <a:extLst>
              <a:ext uri="{FF2B5EF4-FFF2-40B4-BE49-F238E27FC236}">
                <a16:creationId xmlns:a16="http://schemas.microsoft.com/office/drawing/2014/main" id="{23EAC471-F6D2-95CD-6D24-D1C92B56526D}"/>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181079" y="1088467"/>
            <a:ext cx="1690943" cy="945246"/>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6" name="Picture 5">
            <a:extLst>
              <a:ext uri="{FF2B5EF4-FFF2-40B4-BE49-F238E27FC236}">
                <a16:creationId xmlns:a16="http://schemas.microsoft.com/office/drawing/2014/main" id="{5F56EA6E-00F1-98CD-CF2C-ABDE0FF0FE6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95113" y="1864695"/>
            <a:ext cx="1603380" cy="1012536"/>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7" name="Picture 6">
            <a:extLst>
              <a:ext uri="{FF2B5EF4-FFF2-40B4-BE49-F238E27FC236}">
                <a16:creationId xmlns:a16="http://schemas.microsoft.com/office/drawing/2014/main" id="{C2150F6F-CB93-EA7D-D85A-CC09A13481FC}"/>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759744" y="3585560"/>
            <a:ext cx="1704085" cy="963969"/>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8" name="Picture 7">
            <a:extLst>
              <a:ext uri="{FF2B5EF4-FFF2-40B4-BE49-F238E27FC236}">
                <a16:creationId xmlns:a16="http://schemas.microsoft.com/office/drawing/2014/main" id="{2B7B6240-062E-E42F-363E-0D7FA98AAF2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573064" y="5193742"/>
            <a:ext cx="1704085" cy="958082"/>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9" name="Picture 8">
            <a:extLst>
              <a:ext uri="{FF2B5EF4-FFF2-40B4-BE49-F238E27FC236}">
                <a16:creationId xmlns:a16="http://schemas.microsoft.com/office/drawing/2014/main" id="{2EC1AF06-C284-2133-1E1B-3ABF7EA5EC4A}"/>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15040" y="5197414"/>
            <a:ext cx="1643088" cy="931205"/>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10" name="Picture 9">
            <a:extLst>
              <a:ext uri="{FF2B5EF4-FFF2-40B4-BE49-F238E27FC236}">
                <a16:creationId xmlns:a16="http://schemas.microsoft.com/office/drawing/2014/main" id="{66BDFAC1-E92F-884D-5461-D8D60876CD10}"/>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482846" y="3600550"/>
            <a:ext cx="1729099" cy="985157"/>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pic>
        <p:nvPicPr>
          <p:cNvPr id="11" name="Picture 10">
            <a:extLst>
              <a:ext uri="{FF2B5EF4-FFF2-40B4-BE49-F238E27FC236}">
                <a16:creationId xmlns:a16="http://schemas.microsoft.com/office/drawing/2014/main" id="{FC19AE82-C377-8AEA-E559-FB6DD99C9C9B}"/>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2852676" y="1837273"/>
            <a:ext cx="1642888" cy="1077623"/>
          </a:xfrm>
          <a:prstGeom prst="roundRect">
            <a:avLst>
              <a:gd name="adj" fmla="val 4851"/>
            </a:avLst>
          </a:prstGeom>
          <a:solidFill>
            <a:srgbClr val="061620">
              <a:alpha val="40000"/>
            </a:srgbClr>
          </a:solidFill>
          <a:ln w="19050" cap="rnd">
            <a:gradFill flip="none" rotWithShape="1">
              <a:gsLst>
                <a:gs pos="80000">
                  <a:schemeClr val="accent2"/>
                </a:gs>
                <a:gs pos="0">
                  <a:schemeClr val="accent3"/>
                </a:gs>
              </a:gsLst>
              <a:lin ang="2700000" scaled="1"/>
              <a:tileRect/>
            </a:gradFill>
            <a:headEnd type="none" w="lg" len="sm"/>
            <a:tailEnd type="none" w="lg" len="sm"/>
          </a:ln>
          <a:effectLst/>
        </p:spPr>
      </p:pic>
      <p:sp>
        <p:nvSpPr>
          <p:cNvPr id="12" name="Title 11">
            <a:extLst>
              <a:ext uri="{FF2B5EF4-FFF2-40B4-BE49-F238E27FC236}">
                <a16:creationId xmlns:a16="http://schemas.microsoft.com/office/drawing/2014/main" id="{FAF2CF8C-C348-8B44-1845-02648B8093E7}"/>
              </a:ext>
              <a:ext uri="{C183D7F6-B498-43B3-948B-1728B52AA6E4}">
                <adec:decorative xmlns:adec="http://schemas.microsoft.com/office/drawing/2017/decorative" val="0"/>
              </a:ext>
            </a:extLst>
          </p:cNvPr>
          <p:cNvSpPr>
            <a:spLocks noGrp="1"/>
          </p:cNvSpPr>
          <p:nvPr>
            <p:ph type="title"/>
          </p:nvPr>
        </p:nvSpPr>
        <p:spPr>
          <a:xfrm>
            <a:off x="588263" y="221930"/>
            <a:ext cx="2807380" cy="984885"/>
          </a:xfrm>
        </p:spPr>
        <p:txBody>
          <a:bodyPr>
            <a:spAutoFit/>
          </a:bodyPr>
          <a:lstStyle/>
          <a:p>
            <a:pPr fontAlgn="base">
              <a:spcAft>
                <a:spcPts val="600"/>
              </a:spcAft>
              <a:defRPr/>
            </a:pPr>
            <a:r>
              <a:rPr lang="en-US" sz="3200" spc="0">
                <a:ea typeface="+mj-ea"/>
                <a:cs typeface="+mj-cs"/>
              </a:rPr>
              <a:t>Agents + Copilot Studio</a:t>
            </a:r>
          </a:p>
        </p:txBody>
      </p:sp>
      <p:sp>
        <p:nvSpPr>
          <p:cNvPr id="15" name="Rectangle 14">
            <a:extLst>
              <a:ext uri="{FF2B5EF4-FFF2-40B4-BE49-F238E27FC236}">
                <a16:creationId xmlns:a16="http://schemas.microsoft.com/office/drawing/2014/main" id="{F93B848E-268F-1F52-8805-F3E1545CF33B}"/>
              </a:ext>
            </a:extLst>
          </p:cNvPr>
          <p:cNvSpPr/>
          <p:nvPr/>
        </p:nvSpPr>
        <p:spPr bwMode="auto">
          <a:xfrm>
            <a:off x="538176" y="1835864"/>
            <a:ext cx="2131620" cy="10804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200" b="0" i="0" u="none" strike="noStrike" kern="0" cap="none" spc="0" normalizeH="0" baseline="0" noProof="0">
                <a:ln w="3175">
                  <a:noFill/>
                </a:ln>
                <a:solidFill>
                  <a:srgbClr val="8DC8E8"/>
                </a:solidFill>
                <a:effectLst/>
                <a:uLnTx/>
                <a:uFillTx/>
                <a:latin typeface="Segoe Sans Display Semibold"/>
                <a:ea typeface="+mn-ea"/>
                <a:cs typeface="+mn-cs"/>
              </a:rPr>
              <a:t>Integrate with AI services</a:t>
            </a:r>
          </a:p>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100" b="0" i="0" u="none" strike="noStrike" kern="0" cap="none" spc="0" normalizeH="0" baseline="0" noProof="0">
                <a:ln w="3175">
                  <a:noFill/>
                </a:ln>
                <a:solidFill>
                  <a:srgbClr val="FFFFFF"/>
                </a:solidFill>
                <a:effectLst/>
                <a:uLnTx/>
                <a:uFillTx/>
                <a:latin typeface="Segoe Sans Display"/>
                <a:ea typeface="+mn-ea"/>
                <a:cs typeface="+mn-cs"/>
              </a:rPr>
              <a:t>Integrate with Azure AI Foundry, </a:t>
            </a:r>
            <a:br>
              <a:rPr kumimoji="0" lang="en-IN" sz="1100" b="0" i="0" u="none" strike="noStrike" kern="0" cap="none" spc="0" normalizeH="0" baseline="0" noProof="0">
                <a:ln w="3175">
                  <a:noFill/>
                </a:ln>
                <a:solidFill>
                  <a:srgbClr val="FFFFFF"/>
                </a:solidFill>
                <a:effectLst/>
                <a:uLnTx/>
                <a:uFillTx/>
                <a:latin typeface="Segoe Sans Display"/>
                <a:ea typeface="+mn-ea"/>
                <a:cs typeface="+mn-cs"/>
              </a:rPr>
            </a:br>
            <a:r>
              <a:rPr kumimoji="0" lang="en-IN" sz="1100" b="0" i="0" u="none" strike="noStrike" kern="0" cap="none" spc="0" normalizeH="0" baseline="0" noProof="0">
                <a:ln w="3175">
                  <a:noFill/>
                </a:ln>
                <a:solidFill>
                  <a:srgbClr val="FFFFFF"/>
                </a:solidFill>
                <a:effectLst/>
                <a:uLnTx/>
                <a:uFillTx/>
                <a:latin typeface="Segoe Sans Display"/>
                <a:ea typeface="+mn-ea"/>
                <a:cs typeface="+mn-cs"/>
              </a:rPr>
              <a:t>Azure Cog Services, Bot Framework and other Microsoft conversational services</a:t>
            </a:r>
          </a:p>
        </p:txBody>
      </p:sp>
      <p:sp>
        <p:nvSpPr>
          <p:cNvPr id="16" name="TextBox 15">
            <a:extLst>
              <a:ext uri="{FF2B5EF4-FFF2-40B4-BE49-F238E27FC236}">
                <a16:creationId xmlns:a16="http://schemas.microsoft.com/office/drawing/2014/main" id="{06FE3D3F-046C-06B0-EF20-C8C7A456D8B2}"/>
              </a:ext>
            </a:extLst>
          </p:cNvPr>
          <p:cNvSpPr txBox="1"/>
          <p:nvPr/>
        </p:nvSpPr>
        <p:spPr>
          <a:xfrm>
            <a:off x="441567" y="3823824"/>
            <a:ext cx="1858399" cy="538609"/>
          </a:xfrm>
          <a:prstGeom prst="rect">
            <a:avLst/>
          </a:prstGeom>
          <a:noFill/>
        </p:spPr>
        <p:txBody>
          <a:bodyPr wrap="square" lIns="0" tIns="0" rIns="0" bIns="0">
            <a:sp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0" i="0" u="none" strike="noStrike" kern="0" cap="none" spc="0" normalizeH="0" baseline="0" noProof="0">
                <a:ln w="3175">
                  <a:noFill/>
                </a:ln>
                <a:solidFill>
                  <a:srgbClr val="8DC8E8"/>
                </a:solidFill>
                <a:effectLst/>
                <a:uLnTx/>
                <a:uFillTx/>
                <a:latin typeface="Segoe Sans Display Semibold"/>
                <a:ea typeface="+mn-ea"/>
                <a:cs typeface="+mn-cs"/>
              </a:rPr>
              <a:t>Monitor and improve </a:t>
            </a:r>
            <a:br>
              <a:rPr kumimoji="0" lang="en-US" sz="1200" b="0" i="0" u="none" strike="noStrike" kern="0" cap="none" spc="0" normalizeH="0" baseline="0" noProof="0">
                <a:ln w="3175">
                  <a:noFill/>
                </a:ln>
                <a:solidFill>
                  <a:srgbClr val="8DC8E8"/>
                </a:solidFill>
                <a:effectLst/>
                <a:uLnTx/>
                <a:uFillTx/>
                <a:latin typeface="Segoe Sans Display Semibold"/>
                <a:ea typeface="+mn-ea"/>
                <a:cs typeface="+mn-cs"/>
              </a:rPr>
            </a:br>
            <a:r>
              <a:rPr kumimoji="0" lang="en-US" sz="1100" b="0" i="0" u="none" strike="noStrike" kern="0" cap="none" spc="0" normalizeH="0" baseline="0" noProof="0">
                <a:ln w="3175">
                  <a:noFill/>
                </a:ln>
                <a:solidFill>
                  <a:srgbClr val="FFFFFF"/>
                </a:solidFill>
                <a:effectLst/>
                <a:uLnTx/>
                <a:uFillTx/>
                <a:latin typeface="Segoe Sans Display"/>
                <a:ea typeface="+mn-ea"/>
                <a:cs typeface="+mn-cs"/>
              </a:rPr>
              <a:t>Access</a:t>
            </a:r>
            <a:r>
              <a:rPr kumimoji="0" lang="en-US" sz="1200" b="0" i="0" u="none" strike="noStrike" kern="0" cap="none" spc="0" normalizeH="0" baseline="0" noProof="0">
                <a:ln w="3175">
                  <a:noFill/>
                </a:ln>
                <a:solidFill>
                  <a:srgbClr val="FFFFFF"/>
                </a:solidFill>
                <a:effectLst/>
                <a:uLnTx/>
                <a:uFillTx/>
                <a:latin typeface="Segoe Sans Display"/>
                <a:ea typeface="+mn-ea"/>
                <a:cs typeface="+mn-cs"/>
              </a:rPr>
              <a:t> </a:t>
            </a:r>
            <a:r>
              <a:rPr kumimoji="0" lang="en-US" sz="1100" b="0" i="0" u="none" strike="noStrike" kern="0" cap="none" spc="0" normalizeH="0" baseline="0" noProof="0">
                <a:ln w="3175">
                  <a:noFill/>
                </a:ln>
                <a:solidFill>
                  <a:srgbClr val="FFFFFF"/>
                </a:solidFill>
                <a:effectLst/>
                <a:uLnTx/>
                <a:uFillTx/>
                <a:latin typeface="Segoe Sans Display"/>
                <a:ea typeface="+mn-ea"/>
                <a:cs typeface="+mn-cs"/>
              </a:rPr>
              <a:t>rich out-of-the-box insights and analytics</a:t>
            </a:r>
          </a:p>
        </p:txBody>
      </p:sp>
      <p:sp>
        <p:nvSpPr>
          <p:cNvPr id="17" name="Rectangle 16">
            <a:extLst>
              <a:ext uri="{FF2B5EF4-FFF2-40B4-BE49-F238E27FC236}">
                <a16:creationId xmlns:a16="http://schemas.microsoft.com/office/drawing/2014/main" id="{E2988CA5-58BC-1278-95FA-B415AD4A6D85}"/>
              </a:ext>
            </a:extLst>
          </p:cNvPr>
          <p:cNvSpPr/>
          <p:nvPr/>
        </p:nvSpPr>
        <p:spPr bwMode="auto">
          <a:xfrm>
            <a:off x="554605" y="5232130"/>
            <a:ext cx="2077555" cy="8617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0" i="0" u="none" strike="noStrike" kern="0" cap="none" spc="0" normalizeH="0" baseline="0" noProof="0">
                <a:ln w="3175">
                  <a:noFill/>
                </a:ln>
                <a:solidFill>
                  <a:srgbClr val="8DC8E8"/>
                </a:solidFill>
                <a:effectLst/>
                <a:uLnTx/>
                <a:uFillTx/>
                <a:latin typeface="Segoe Sans Display Semibold"/>
                <a:ea typeface="+mn-ea"/>
                <a:cs typeface="+mn-cs"/>
              </a:rPr>
              <a:t>Publish to multiple channels </a:t>
            </a:r>
            <a:r>
              <a:rPr kumimoji="0" lang="en-US" sz="1100" b="0" i="0" u="none" strike="noStrike" kern="0" cap="none" spc="0" normalizeH="0" baseline="0" noProof="0">
                <a:ln w="3175">
                  <a:noFill/>
                </a:ln>
                <a:solidFill>
                  <a:srgbClr val="FFFFFF"/>
                </a:solidFill>
                <a:effectLst/>
                <a:uLnTx/>
                <a:uFillTx/>
                <a:latin typeface="Segoe Sans Display"/>
                <a:ea typeface="+mn-ea"/>
                <a:cs typeface="+mn-cs"/>
              </a:rPr>
              <a:t>Publish in 20+ languages and deploy to your channel of choice with a single click, including </a:t>
            </a:r>
            <a:r>
              <a:rPr kumimoji="0" lang="en-US" sz="1100" b="0" i="0" u="none" strike="noStrike" kern="0" cap="none" spc="0" normalizeH="0" baseline="0" noProof="0">
                <a:ln w="3175">
                  <a:noFill/>
                </a:ln>
                <a:solidFill>
                  <a:srgbClr val="FFFFFF"/>
                </a:solidFill>
                <a:effectLst/>
                <a:uLnTx/>
                <a:uFillTx/>
                <a:latin typeface="Segoe Sans Display Semibold"/>
                <a:ea typeface="+mn-ea"/>
                <a:cs typeface="+mn-cs"/>
              </a:rPr>
              <a:t>Microsoft 365 Copilot</a:t>
            </a:r>
          </a:p>
        </p:txBody>
      </p:sp>
      <p:sp>
        <p:nvSpPr>
          <p:cNvPr id="18" name="Rectangle 17">
            <a:extLst>
              <a:ext uri="{FF2B5EF4-FFF2-40B4-BE49-F238E27FC236}">
                <a16:creationId xmlns:a16="http://schemas.microsoft.com/office/drawing/2014/main" id="{328D4B12-9DD6-FD9C-119B-A6A3F55CFBB9}"/>
              </a:ext>
            </a:extLst>
          </p:cNvPr>
          <p:cNvSpPr/>
          <p:nvPr/>
        </p:nvSpPr>
        <p:spPr bwMode="auto">
          <a:xfrm>
            <a:off x="4449233" y="300143"/>
            <a:ext cx="3154634" cy="647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200" b="0" i="0" u="none" strike="noStrike" kern="0" cap="none" spc="0" normalizeH="0" baseline="0" noProof="0">
                <a:ln w="3175">
                  <a:noFill/>
                </a:ln>
                <a:solidFill>
                  <a:srgbClr val="8DC8E8"/>
                </a:solidFill>
                <a:effectLst/>
                <a:uLnTx/>
                <a:uFillTx/>
                <a:latin typeface="Segoe Sans Display Semibold"/>
                <a:ea typeface="+mn-ea"/>
                <a:cs typeface="+mn-cs"/>
              </a:rPr>
              <a:t>Design, enhance, and manage agents</a:t>
            </a:r>
          </a:p>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100" b="0" i="0" u="none" strike="noStrike" kern="0" cap="none" spc="0" normalizeH="0" baseline="0" noProof="0">
                <a:ln w="3175">
                  <a:noFill/>
                </a:ln>
                <a:solidFill>
                  <a:srgbClr val="FFFFFF"/>
                </a:solidFill>
                <a:effectLst/>
                <a:uLnTx/>
                <a:uFillTx/>
                <a:latin typeface="Segoe Sans Display"/>
                <a:ea typeface="+mn-ea"/>
                <a:cs typeface="+mn-cs"/>
              </a:rPr>
              <a:t>Build an agent and go live quickly, all from one easy-to-use, E2E SaaS product</a:t>
            </a:r>
            <a:endParaRPr kumimoji="0" lang="en-US" sz="1100" b="0" i="0" u="none" strike="noStrike" kern="0" cap="none" spc="0" normalizeH="0" baseline="0" noProof="0">
              <a:ln>
                <a:noFill/>
              </a:ln>
              <a:solidFill>
                <a:srgbClr val="FFFFFF"/>
              </a:solidFill>
              <a:effectLst/>
              <a:uLnTx/>
              <a:uFillTx/>
              <a:latin typeface="Segoe Sans Display"/>
              <a:ea typeface="+mn-ea"/>
              <a:cs typeface="+mn-cs"/>
            </a:endParaRPr>
          </a:p>
        </p:txBody>
      </p:sp>
      <p:sp>
        <p:nvSpPr>
          <p:cNvPr id="19" name="TextBox 18">
            <a:extLst>
              <a:ext uri="{FF2B5EF4-FFF2-40B4-BE49-F238E27FC236}">
                <a16:creationId xmlns:a16="http://schemas.microsoft.com/office/drawing/2014/main" id="{E90918A1-6A4A-EAE7-A279-B06BD3CF85F3}"/>
              </a:ext>
            </a:extLst>
          </p:cNvPr>
          <p:cNvSpPr txBox="1"/>
          <p:nvPr/>
        </p:nvSpPr>
        <p:spPr>
          <a:xfrm>
            <a:off x="4882180" y="2266049"/>
            <a:ext cx="2290495" cy="437668"/>
          </a:xfrm>
          <a:prstGeom prst="roundRect">
            <a:avLst>
              <a:gd name="adj" fmla="val 50000"/>
            </a:avLst>
          </a:prstGeom>
          <a:solidFill>
            <a:srgbClr val="081319">
              <a:alpha val="99000"/>
            </a:srgb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2914650" algn="l"/>
              </a:tabLst>
              <a:defRPr/>
            </a:pPr>
            <a:r>
              <a:rPr kumimoji="0" lang="en-US" sz="1600" b="0"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Sans Display Semibold"/>
                <a:ea typeface="+mn-ea"/>
                <a:cs typeface="Segoe UI" pitchFamily="34" charset="0"/>
              </a:rPr>
              <a:t>Build &amp; Publish</a:t>
            </a:r>
          </a:p>
        </p:txBody>
      </p:sp>
      <p:grpSp>
        <p:nvGrpSpPr>
          <p:cNvPr id="21" name="Group 20" descr="Arrows pointing in a circular direction in a continuous loop with Copilot Studio inside">
            <a:extLst>
              <a:ext uri="{FF2B5EF4-FFF2-40B4-BE49-F238E27FC236}">
                <a16:creationId xmlns:a16="http://schemas.microsoft.com/office/drawing/2014/main" id="{8F9DE538-FB7E-8F87-78C9-0359A21610B9}"/>
              </a:ext>
              <a:ext uri="{C183D7F6-B498-43B3-948B-1728B52AA6E4}">
                <adec:decorative xmlns:adec="http://schemas.microsoft.com/office/drawing/2017/decorative" val="0"/>
              </a:ext>
            </a:extLst>
          </p:cNvPr>
          <p:cNvGrpSpPr/>
          <p:nvPr/>
        </p:nvGrpSpPr>
        <p:grpSpPr>
          <a:xfrm>
            <a:off x="4826000" y="2864900"/>
            <a:ext cx="2387834" cy="2387834"/>
            <a:chOff x="4826000" y="2864900"/>
            <a:chExt cx="2387834" cy="2387834"/>
          </a:xfrm>
        </p:grpSpPr>
        <p:sp>
          <p:nvSpPr>
            <p:cNvPr id="22" name="Oval 32_1">
              <a:extLst>
                <a:ext uri="{FF2B5EF4-FFF2-40B4-BE49-F238E27FC236}">
                  <a16:creationId xmlns:a16="http://schemas.microsoft.com/office/drawing/2014/main" id="{941186F0-855A-4728-375A-55B2E62DBC6A}"/>
                </a:ext>
              </a:extLst>
            </p:cNvPr>
            <p:cNvSpPr/>
            <p:nvPr/>
          </p:nvSpPr>
          <p:spPr bwMode="auto">
            <a:xfrm rot="12646614">
              <a:off x="4826000" y="2864900"/>
              <a:ext cx="2387834" cy="2387834"/>
            </a:xfrm>
            <a:prstGeom prst="arc">
              <a:avLst>
                <a:gd name="adj1" fmla="val 10737585"/>
                <a:gd name="adj2" fmla="val 21172899"/>
              </a:avLst>
            </a:prstGeom>
            <a:ln w="38100" cap="rnd">
              <a:solidFill>
                <a:schemeClr val="accent3"/>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3" name="Oval 32_1_1">
              <a:extLst>
                <a:ext uri="{FF2B5EF4-FFF2-40B4-BE49-F238E27FC236}">
                  <a16:creationId xmlns:a16="http://schemas.microsoft.com/office/drawing/2014/main" id="{15190BEA-884C-AA2B-A45B-D3FA613AF590}"/>
                </a:ext>
              </a:extLst>
            </p:cNvPr>
            <p:cNvSpPr/>
            <p:nvPr/>
          </p:nvSpPr>
          <p:spPr bwMode="auto">
            <a:xfrm rot="1918894">
              <a:off x="4826000" y="2864900"/>
              <a:ext cx="2387834" cy="2387834"/>
            </a:xfrm>
            <a:prstGeom prst="arc">
              <a:avLst>
                <a:gd name="adj1" fmla="val 10861366"/>
                <a:gd name="adj2" fmla="val 20866167"/>
              </a:avLst>
            </a:prstGeom>
            <a:ln w="38100" cap="rnd">
              <a:solidFill>
                <a:schemeClr val="accent4"/>
              </a:solidFill>
              <a:headEnd type="none"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grpSp>
      <p:sp>
        <p:nvSpPr>
          <p:cNvPr id="24" name="Title 58">
            <a:extLst>
              <a:ext uri="{FF2B5EF4-FFF2-40B4-BE49-F238E27FC236}">
                <a16:creationId xmlns:a16="http://schemas.microsoft.com/office/drawing/2014/main" id="{FB86EC87-C2C7-A147-BC2D-93EFFF266DE9}"/>
              </a:ext>
              <a:ext uri="{C183D7F6-B498-43B3-948B-1728B52AA6E4}">
                <adec:decorative xmlns:adec="http://schemas.microsoft.com/office/drawing/2017/decorative" val="0"/>
              </a:ext>
            </a:extLst>
          </p:cNvPr>
          <p:cNvSpPr txBox="1">
            <a:spLocks/>
          </p:cNvSpPr>
          <p:nvPr/>
        </p:nvSpPr>
        <p:spPr>
          <a:xfrm>
            <a:off x="5243745" y="4401091"/>
            <a:ext cx="1552344"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bg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n-ea"/>
                <a:cs typeface="Segoe Sans Display" pitchFamily="2" charset="0"/>
              </a:rPr>
              <a:t>Copilot Studio </a:t>
            </a:r>
          </a:p>
        </p:txBody>
      </p:sp>
      <p:sp>
        <p:nvSpPr>
          <p:cNvPr id="25" name="TextBox 24">
            <a:extLst>
              <a:ext uri="{FF2B5EF4-FFF2-40B4-BE49-F238E27FC236}">
                <a16:creationId xmlns:a16="http://schemas.microsoft.com/office/drawing/2014/main" id="{F062C57E-307F-B84C-86C8-8411DD1BF61F}"/>
              </a:ext>
            </a:extLst>
          </p:cNvPr>
          <p:cNvSpPr txBox="1"/>
          <p:nvPr/>
        </p:nvSpPr>
        <p:spPr>
          <a:xfrm>
            <a:off x="4882180" y="5435019"/>
            <a:ext cx="2290495" cy="437668"/>
          </a:xfrm>
          <a:prstGeom prst="roundRect">
            <a:avLst>
              <a:gd name="adj" fmla="val 50000"/>
            </a:avLst>
          </a:prstGeom>
          <a:solidFill>
            <a:srgbClr val="081319">
              <a:alpha val="99000"/>
            </a:srgb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742" rtl="0" eaLnBrk="1" fontAlgn="base" latinLnBrk="0" hangingPunct="1">
              <a:lnSpc>
                <a:spcPct val="100000"/>
              </a:lnSpc>
              <a:spcBef>
                <a:spcPct val="0"/>
              </a:spcBef>
              <a:spcAft>
                <a:spcPts val="600"/>
              </a:spcAft>
              <a:buClrTx/>
              <a:buSzTx/>
              <a:buFontTx/>
              <a:buNone/>
              <a:tabLst>
                <a:tab pos="2914650" algn="l"/>
              </a:tabLst>
              <a:defRPr/>
            </a:pPr>
            <a:r>
              <a:rPr kumimoji="0" lang="en-US" sz="1600" b="0"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Sans Display Semibold"/>
                <a:ea typeface="+mn-ea"/>
                <a:cs typeface="Segoe UI" pitchFamily="34" charset="0"/>
              </a:rPr>
              <a:t>Analyze &amp; Improve</a:t>
            </a:r>
          </a:p>
        </p:txBody>
      </p:sp>
      <p:sp>
        <p:nvSpPr>
          <p:cNvPr id="26" name="Rectangle 25">
            <a:extLst>
              <a:ext uri="{FF2B5EF4-FFF2-40B4-BE49-F238E27FC236}">
                <a16:creationId xmlns:a16="http://schemas.microsoft.com/office/drawing/2014/main" id="{CE651F49-7B03-D27A-2EC3-D08F2B6ED957}"/>
              </a:ext>
            </a:extLst>
          </p:cNvPr>
          <p:cNvSpPr/>
          <p:nvPr/>
        </p:nvSpPr>
        <p:spPr bwMode="auto">
          <a:xfrm>
            <a:off x="9281373" y="2007787"/>
            <a:ext cx="2412538" cy="7263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ct val="20000"/>
              </a:spcBef>
              <a:spcAft>
                <a:spcPct val="0"/>
              </a:spcAft>
              <a:buClrTx/>
              <a:buSzPct val="90000"/>
              <a:buFontTx/>
              <a:buNone/>
              <a:tabLst/>
              <a:defRPr/>
            </a:pPr>
            <a:r>
              <a:rPr kumimoji="0" lang="en-IN" sz="1200" b="0" i="0" u="none" strike="noStrike" kern="0" cap="none" spc="0" normalizeH="0" baseline="0" noProof="0">
                <a:ln w="3175">
                  <a:noFill/>
                </a:ln>
                <a:solidFill>
                  <a:srgbClr val="8DC8E8"/>
                </a:solidFill>
                <a:effectLst/>
                <a:uLnTx/>
                <a:uFillTx/>
                <a:latin typeface="Segoe Sans Display Semibold"/>
                <a:ea typeface="+mn-ea"/>
                <a:cs typeface="+mn-cs"/>
              </a:rPr>
              <a:t>Chat over knowledge with gen AI</a:t>
            </a:r>
          </a:p>
          <a:p>
            <a:pPr marL="0" marR="0" lvl="0" indent="0" algn="l" defTabSz="914400" rtl="0" eaLnBrk="1" fontAlgn="base" latinLnBrk="0" hangingPunct="1">
              <a:lnSpc>
                <a:spcPct val="100000"/>
              </a:lnSpc>
              <a:spcBef>
                <a:spcPct val="20000"/>
              </a:spcBef>
              <a:spcAft>
                <a:spcPct val="0"/>
              </a:spcAft>
              <a:buClrTx/>
              <a:buSzPct val="90000"/>
              <a:buFontTx/>
              <a:buNone/>
              <a:tabLst/>
              <a:defRPr/>
            </a:pPr>
            <a:r>
              <a:rPr kumimoji="0" lang="en-IN" sz="1100" b="0" i="0" u="none" strike="noStrike" kern="0" cap="none" spc="0" normalizeH="0" baseline="0" noProof="0">
                <a:ln w="3175">
                  <a:noFill/>
                </a:ln>
                <a:solidFill>
                  <a:srgbClr val="FFFFFF"/>
                </a:solidFill>
                <a:effectLst/>
                <a:uLnTx/>
                <a:uFillTx/>
                <a:latin typeface="Segoe Sans Display"/>
                <a:ea typeface="+mn-ea"/>
                <a:cs typeface="+mn-cs"/>
              </a:rPr>
              <a:t>Get enterprise-specific answers using your files, websites, Dataverse, third-party apps and more</a:t>
            </a:r>
          </a:p>
        </p:txBody>
      </p:sp>
      <p:sp>
        <p:nvSpPr>
          <p:cNvPr id="27" name="Rectangle 26">
            <a:extLst>
              <a:ext uri="{FF2B5EF4-FFF2-40B4-BE49-F238E27FC236}">
                <a16:creationId xmlns:a16="http://schemas.microsoft.com/office/drawing/2014/main" id="{E3771B0C-1348-4BF5-DCA9-0B885899FA9A}"/>
              </a:ext>
              <a:ext uri="{C183D7F6-B498-43B3-948B-1728B52AA6E4}">
                <adec:decorative xmlns:adec="http://schemas.microsoft.com/office/drawing/2017/decorative" val="0"/>
              </a:ext>
            </a:extLst>
          </p:cNvPr>
          <p:cNvSpPr/>
          <p:nvPr/>
        </p:nvSpPr>
        <p:spPr bwMode="auto">
          <a:xfrm>
            <a:off x="9646710" y="3704367"/>
            <a:ext cx="2031868" cy="7263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200" b="0" i="0" u="none" strike="noStrike" kern="0" cap="none" spc="0" normalizeH="0" baseline="0" noProof="0">
                <a:ln w="3175">
                  <a:noFill/>
                </a:ln>
                <a:solidFill>
                  <a:srgbClr val="8DC8E8"/>
                </a:solidFill>
                <a:effectLst/>
                <a:uLnTx/>
                <a:uFillTx/>
                <a:latin typeface="Segoe Sans Display Semibold"/>
                <a:ea typeface="+mn-ea"/>
                <a:cs typeface="+mn-cs"/>
              </a:rPr>
              <a:t>Create specific topics</a:t>
            </a:r>
          </a:p>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100" b="0" i="0" u="none" strike="noStrike" kern="0" cap="none" spc="0" normalizeH="0" baseline="0" noProof="0">
                <a:ln w="3175">
                  <a:noFill/>
                </a:ln>
                <a:solidFill>
                  <a:srgbClr val="FFFFFF"/>
                </a:solidFill>
                <a:effectLst/>
                <a:uLnTx/>
                <a:uFillTx/>
                <a:latin typeface="Segoe Sans Display"/>
                <a:ea typeface="+mn-ea"/>
                <a:cs typeface="+mn-cs"/>
              </a:rPr>
              <a:t>Supplement gen AI responses with specific, curated topics for when you want more control </a:t>
            </a:r>
          </a:p>
        </p:txBody>
      </p:sp>
      <p:sp>
        <p:nvSpPr>
          <p:cNvPr id="28" name="Rectangle 27">
            <a:extLst>
              <a:ext uri="{FF2B5EF4-FFF2-40B4-BE49-F238E27FC236}">
                <a16:creationId xmlns:a16="http://schemas.microsoft.com/office/drawing/2014/main" id="{671E4A5D-7E68-1FC8-2B83-B2F21CA457F8}"/>
              </a:ext>
            </a:extLst>
          </p:cNvPr>
          <p:cNvSpPr/>
          <p:nvPr/>
        </p:nvSpPr>
        <p:spPr bwMode="auto">
          <a:xfrm>
            <a:off x="9460030" y="5234054"/>
            <a:ext cx="2031868" cy="8774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IN" sz="1200" b="0" i="0" u="none" strike="noStrike" kern="0" cap="none" spc="0" normalizeH="0" baseline="0" noProof="0">
                <a:ln w="3175">
                  <a:noFill/>
                </a:ln>
                <a:solidFill>
                  <a:srgbClr val="8DC8E8"/>
                </a:solidFill>
                <a:effectLst/>
                <a:uLnTx/>
                <a:uFillTx/>
                <a:latin typeface="Segoe Sans Display Semibold"/>
                <a:ea typeface="+mn-ea"/>
                <a:cs typeface="+mn-cs"/>
              </a:rPr>
              <a:t>Build actions</a:t>
            </a:r>
            <a:br>
              <a:rPr kumimoji="0" lang="en-IN" sz="1200" b="0" i="0" u="none" strike="noStrike" kern="0" cap="none" spc="0" normalizeH="0" baseline="0" noProof="0">
                <a:ln w="3175">
                  <a:noFill/>
                </a:ln>
                <a:solidFill>
                  <a:srgbClr val="8DC8E8"/>
                </a:solidFill>
                <a:effectLst/>
                <a:uLnTx/>
                <a:uFillTx/>
                <a:latin typeface="Segoe Sans Display Semibold"/>
                <a:ea typeface="+mn-ea"/>
                <a:cs typeface="+mn-cs"/>
              </a:rPr>
            </a:br>
            <a:r>
              <a:rPr kumimoji="0" lang="en-IN" sz="1100" b="0" i="0" u="none" strike="noStrike" kern="0" cap="none" spc="0" normalizeH="0" baseline="0" noProof="0">
                <a:ln w="3175">
                  <a:noFill/>
                </a:ln>
                <a:solidFill>
                  <a:srgbClr val="FFFFFF"/>
                </a:solidFill>
                <a:effectLst/>
                <a:uLnTx/>
                <a:uFillTx/>
                <a:latin typeface="Segoe Sans Display"/>
                <a:ea typeface="+mn-ea"/>
                <a:cs typeface="+mn-cs"/>
              </a:rPr>
              <a:t>Create actions and use pre-built connectors or Power Automate to call your backends and APIs or complete long-running tasks</a:t>
            </a:r>
          </a:p>
        </p:txBody>
      </p:sp>
    </p:spTree>
    <p:extLst>
      <p:ext uri="{BB962C8B-B14F-4D97-AF65-F5344CB8AC3E}">
        <p14:creationId xmlns:p14="http://schemas.microsoft.com/office/powerpoint/2010/main" val="1430621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42" presetClass="path" presetSubtype="0" decel="100000" fill="hold" grpId="1" nodeType="withEffect">
                                  <p:stCondLst>
                                    <p:cond delay="0"/>
                                  </p:stCondLst>
                                  <p:childTnLst>
                                    <p:animMotion origin="layout" path="M -8.33333E-7 -0.04768 L -8.33333E-7 -2.22222E-6 " pathEditMode="relative" rAng="0" ptsTypes="AA">
                                      <p:cBhvr>
                                        <p:cTn id="12" dur="750" fill="hold"/>
                                        <p:tgtEl>
                                          <p:spTgt spid="18"/>
                                        </p:tgtEl>
                                        <p:attrNameLst>
                                          <p:attrName>ppt_x</p:attrName>
                                          <p:attrName>ppt_y</p:attrName>
                                        </p:attrNameLst>
                                      </p:cBhvr>
                                      <p:rCtr x="0" y="2384"/>
                                    </p:animMotion>
                                  </p:childTnLst>
                                </p:cTn>
                              </p:par>
                              <p:par>
                                <p:cTn id="13" presetID="10" presetClass="entr" presetSubtype="0" fill="hold" nodeType="withEffect">
                                  <p:stCondLst>
                                    <p:cond delay="2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42" presetClass="path" presetSubtype="0" decel="100000" fill="hold" grpId="1" nodeType="withEffect">
                                  <p:stCondLst>
                                    <p:cond delay="250"/>
                                  </p:stCondLst>
                                  <p:childTnLst>
                                    <p:animMotion origin="layout" path="M 0.02682 -1.85185E-6 L 3.75E-6 -1.85185E-6 " pathEditMode="relative" rAng="0" ptsTypes="AA">
                                      <p:cBhvr>
                                        <p:cTn id="20" dur="750" fill="hold"/>
                                        <p:tgtEl>
                                          <p:spTgt spid="26"/>
                                        </p:tgtEl>
                                        <p:attrNameLst>
                                          <p:attrName>ppt_x</p:attrName>
                                          <p:attrName>ppt_y</p:attrName>
                                        </p:attrNameLst>
                                      </p:cBhvr>
                                      <p:rCtr x="-1341" y="0"/>
                                    </p:animMotion>
                                  </p:childTnLst>
                                </p:cTn>
                              </p:par>
                              <p:par>
                                <p:cTn id="21" presetID="10" presetClass="entr" presetSubtype="0" fill="hold" nodeType="withEffect">
                                  <p:stCondLst>
                                    <p:cond delay="2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20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42" presetClass="path" presetSubtype="0" decel="100000" fill="hold" grpId="1" nodeType="withEffect">
                                  <p:stCondLst>
                                    <p:cond delay="200"/>
                                  </p:stCondLst>
                                  <p:childTnLst>
                                    <p:animMotion origin="layout" path="M 0.02682 4.44444E-6 L 6.25E-7 4.44444E-6 " pathEditMode="relative" rAng="0" ptsTypes="AA">
                                      <p:cBhvr>
                                        <p:cTn id="28" dur="750" fill="hold"/>
                                        <p:tgtEl>
                                          <p:spTgt spid="27"/>
                                        </p:tgtEl>
                                        <p:attrNameLst>
                                          <p:attrName>ppt_x</p:attrName>
                                          <p:attrName>ppt_y</p:attrName>
                                        </p:attrNameLst>
                                      </p:cBhvr>
                                      <p:rCtr x="-1341" y="0"/>
                                    </p:animMotion>
                                  </p:childTnLst>
                                </p:cTn>
                              </p:par>
                              <p:par>
                                <p:cTn id="29" presetID="10" presetClass="entr" presetSubtype="0" fill="hold" nodeType="withEffect">
                                  <p:stCondLst>
                                    <p:cond delay="30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42" presetClass="path" presetSubtype="0" decel="100000" fill="hold" grpId="1" nodeType="withEffect">
                                  <p:stCondLst>
                                    <p:cond delay="300"/>
                                  </p:stCondLst>
                                  <p:childTnLst>
                                    <p:animMotion origin="layout" path="M 0.02683 -3.33333E-6 L -4.79167E-6 -3.33333E-6 " pathEditMode="relative" rAng="0" ptsTypes="AA">
                                      <p:cBhvr>
                                        <p:cTn id="36" dur="750" fill="hold"/>
                                        <p:tgtEl>
                                          <p:spTgt spid="28"/>
                                        </p:tgtEl>
                                        <p:attrNameLst>
                                          <p:attrName>ppt_x</p:attrName>
                                          <p:attrName>ppt_y</p:attrName>
                                        </p:attrNameLst>
                                      </p:cBhvr>
                                      <p:rCtr x="-1341" y="0"/>
                                    </p:animMotion>
                                  </p:childTnLst>
                                </p:cTn>
                              </p:par>
                              <p:par>
                                <p:cTn id="37" presetID="10" presetClass="entr" presetSubtype="0" fill="hold" nodeType="withEffect">
                                  <p:stCondLst>
                                    <p:cond delay="40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par>
                                <p:cTn id="40" presetID="10" presetClass="entr" presetSubtype="0" fill="hold" grpId="0" nodeType="withEffect">
                                  <p:stCondLst>
                                    <p:cond delay="40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42" presetClass="path" presetSubtype="0" decel="100000" fill="hold" grpId="1" nodeType="withEffect">
                                  <p:stCondLst>
                                    <p:cond delay="400"/>
                                  </p:stCondLst>
                                  <p:childTnLst>
                                    <p:animMotion origin="layout" path="M -0.0263 -4.44444E-6 L 1.04167E-6 -4.44444E-6 " pathEditMode="relative" rAng="0" ptsTypes="AA">
                                      <p:cBhvr>
                                        <p:cTn id="44" dur="750" fill="hold"/>
                                        <p:tgtEl>
                                          <p:spTgt spid="17"/>
                                        </p:tgtEl>
                                        <p:attrNameLst>
                                          <p:attrName>ppt_x</p:attrName>
                                          <p:attrName>ppt_y</p:attrName>
                                        </p:attrNameLst>
                                      </p:cBhvr>
                                      <p:rCtr x="1315" y="0"/>
                                    </p:animMotion>
                                  </p:childTnLst>
                                </p:cTn>
                              </p:par>
                              <p:par>
                                <p:cTn id="45" presetID="10" presetClass="entr" presetSubtype="0" fill="hold" nodeType="withEffect">
                                  <p:stCondLst>
                                    <p:cond delay="50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grpId="0" nodeType="withEffect">
                                  <p:stCondLst>
                                    <p:cond delay="50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42" presetClass="path" presetSubtype="0" decel="100000" fill="hold" grpId="1" nodeType="withEffect">
                                  <p:stCondLst>
                                    <p:cond delay="500"/>
                                  </p:stCondLst>
                                  <p:childTnLst>
                                    <p:animMotion origin="layout" path="M -0.0263 7.40741E-7 L 2.08333E-7 7.40741E-7 " pathEditMode="relative" rAng="0" ptsTypes="AA">
                                      <p:cBhvr>
                                        <p:cTn id="52" dur="750" fill="hold"/>
                                        <p:tgtEl>
                                          <p:spTgt spid="16"/>
                                        </p:tgtEl>
                                        <p:attrNameLst>
                                          <p:attrName>ppt_x</p:attrName>
                                          <p:attrName>ppt_y</p:attrName>
                                        </p:attrNameLst>
                                      </p:cBhvr>
                                      <p:rCtr x="1315" y="0"/>
                                    </p:animMotion>
                                  </p:childTnLst>
                                </p:cTn>
                              </p:par>
                              <p:par>
                                <p:cTn id="53" presetID="10" presetClass="entr" presetSubtype="0" fill="hold" nodeType="withEffect">
                                  <p:stCondLst>
                                    <p:cond delay="60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par>
                                <p:cTn id="56" presetID="10" presetClass="entr" presetSubtype="0" fill="hold" grpId="0" nodeType="withEffect">
                                  <p:stCondLst>
                                    <p:cond delay="600"/>
                                  </p:stCondLst>
                                  <p:childTnLst>
                                    <p:set>
                                      <p:cBhvr>
                                        <p:cTn id="57" dur="1" fill="hold">
                                          <p:stCondLst>
                                            <p:cond delay="0"/>
                                          </p:stCondLst>
                                        </p:cTn>
                                        <p:tgtEl>
                                          <p:spTgt spid="15"/>
                                        </p:tgtEl>
                                        <p:attrNameLst>
                                          <p:attrName>style.visibility</p:attrName>
                                        </p:attrNameLst>
                                      </p:cBhvr>
                                      <p:to>
                                        <p:strVal val="visible"/>
                                      </p:to>
                                    </p:set>
                                    <p:animEffect transition="in" filter="fade">
                                      <p:cBhvr>
                                        <p:cTn id="58" dur="500"/>
                                        <p:tgtEl>
                                          <p:spTgt spid="15"/>
                                        </p:tgtEl>
                                      </p:cBhvr>
                                    </p:animEffect>
                                  </p:childTnLst>
                                </p:cTn>
                              </p:par>
                              <p:par>
                                <p:cTn id="59" presetID="42" presetClass="path" presetSubtype="0" decel="100000" fill="hold" grpId="1" nodeType="withEffect">
                                  <p:stCondLst>
                                    <p:cond delay="600"/>
                                  </p:stCondLst>
                                  <p:childTnLst>
                                    <p:animMotion origin="layout" path="M -0.0263 3.7037E-6 L -4.16667E-7 3.7037E-6 " pathEditMode="relative" rAng="0" ptsTypes="AA">
                                      <p:cBhvr>
                                        <p:cTn id="60" dur="750" fill="hold"/>
                                        <p:tgtEl>
                                          <p:spTgt spid="15"/>
                                        </p:tgtEl>
                                        <p:attrNameLst>
                                          <p:attrName>ppt_x</p:attrName>
                                          <p:attrName>ppt_y</p:attrName>
                                        </p:attrNameLst>
                                      </p:cBhvr>
                                      <p:rCtr x="131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p:bldP spid="16" grpId="1"/>
      <p:bldP spid="17" grpId="0"/>
      <p:bldP spid="17" grpId="1"/>
      <p:bldP spid="18" grpId="0"/>
      <p:bldP spid="18" grpId="1"/>
      <p:bldP spid="26" grpId="0"/>
      <p:bldP spid="26" grpId="1"/>
      <p:bldP spid="27" grpId="0"/>
      <p:bldP spid="27" grpId="1"/>
      <p:bldP spid="28" grpId="0"/>
      <p:bldP spid="28"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290647C-36F3-8BC3-E2BC-554C8D4BCE3B}"/>
            </a:ext>
          </a:extLst>
        </p:cNvPr>
        <p:cNvGrpSpPr/>
        <p:nvPr/>
      </p:nvGrpSpPr>
      <p:grpSpPr>
        <a:xfrm>
          <a:off x="0" y="0"/>
          <a:ext cx="0" cy="0"/>
          <a:chOff x="0" y="0"/>
          <a:chExt cx="0" cy="0"/>
        </a:xfrm>
      </p:grpSpPr>
      <p:pic>
        <p:nvPicPr>
          <p:cNvPr id="4" name="Graphic 3">
            <a:extLst>
              <a:ext uri="{FF2B5EF4-FFF2-40B4-BE49-F238E27FC236}">
                <a16:creationId xmlns:a16="http://schemas.microsoft.com/office/drawing/2014/main" id="{203B1F8B-8F95-0633-3D62-FD0777F5ABF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0656" y="485690"/>
            <a:ext cx="442053" cy="388632"/>
          </a:xfrm>
          <a:prstGeom prst="rect">
            <a:avLst/>
          </a:prstGeom>
          <a:effectLst/>
        </p:spPr>
      </p:pic>
      <p:sp>
        <p:nvSpPr>
          <p:cNvPr id="6" name="Rounded Rectangle 14">
            <a:extLst>
              <a:ext uri="{FF2B5EF4-FFF2-40B4-BE49-F238E27FC236}">
                <a16:creationId xmlns:a16="http://schemas.microsoft.com/office/drawing/2014/main" id="{3D3BF592-B74E-B652-285B-C311550FAE37}"/>
              </a:ext>
              <a:ext uri="{C183D7F6-B498-43B3-948B-1728B52AA6E4}">
                <adec:decorative xmlns:adec="http://schemas.microsoft.com/office/drawing/2017/decorative" val="1"/>
              </a:ext>
            </a:extLst>
          </p:cNvPr>
          <p:cNvSpPr/>
          <p:nvPr/>
        </p:nvSpPr>
        <p:spPr bwMode="auto">
          <a:xfrm>
            <a:off x="1795962" y="2548575"/>
            <a:ext cx="9701784" cy="2192406"/>
          </a:xfrm>
          <a:prstGeom prst="roundRect">
            <a:avLst>
              <a:gd name="adj" fmla="val 3458"/>
            </a:avLst>
          </a:prstGeom>
          <a:noFill/>
          <a:ln w="12700" cap="rnd">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Rectangle: Rounded Corners 7">
            <a:extLst>
              <a:ext uri="{FF2B5EF4-FFF2-40B4-BE49-F238E27FC236}">
                <a16:creationId xmlns:a16="http://schemas.microsoft.com/office/drawing/2014/main" id="{63329BE0-E5FD-B9DC-F153-B95424C7E48F}"/>
              </a:ext>
              <a:ext uri="{C183D7F6-B498-43B3-948B-1728B52AA6E4}">
                <adec:decorative xmlns:adec="http://schemas.microsoft.com/office/drawing/2017/decorative" val="1"/>
              </a:ext>
            </a:extLst>
          </p:cNvPr>
          <p:cNvSpPr/>
          <p:nvPr/>
        </p:nvSpPr>
        <p:spPr bwMode="auto">
          <a:xfrm>
            <a:off x="1698421" y="1208011"/>
            <a:ext cx="9910967" cy="5125677"/>
          </a:xfrm>
          <a:prstGeom prst="roundRect">
            <a:avLst>
              <a:gd name="adj" fmla="val 2197"/>
            </a:avLst>
          </a:prstGeom>
          <a:noFill/>
          <a:ln w="19050">
            <a:gradFill flip="none" rotWithShape="1">
              <a:gsLst>
                <a:gs pos="30000">
                  <a:schemeClr val="accent1"/>
                </a:gs>
                <a:gs pos="0">
                  <a:schemeClr val="accent3"/>
                </a:gs>
                <a:gs pos="100000">
                  <a:srgbClr val="FF5C39"/>
                </a:gs>
                <a:gs pos="70000">
                  <a:srgbClr val="C03BC4"/>
                </a:gs>
              </a:gsLst>
              <a:lin ang="135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Semibold"/>
              <a:ea typeface="+mn-ea"/>
              <a:cs typeface="Segoe UI" pitchFamily="34" charset="0"/>
            </a:endParaRPr>
          </a:p>
        </p:txBody>
      </p:sp>
      <p:pic>
        <p:nvPicPr>
          <p:cNvPr id="10" name="Graphic 9">
            <a:extLst>
              <a:ext uri="{FF2B5EF4-FFF2-40B4-BE49-F238E27FC236}">
                <a16:creationId xmlns:a16="http://schemas.microsoft.com/office/drawing/2014/main" id="{00E66840-DB62-B9F1-4DFA-CF4C069EBF7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01811" y="3006422"/>
            <a:ext cx="176648" cy="176648"/>
          </a:xfrm>
          <a:prstGeom prst="rect">
            <a:avLst/>
          </a:prstGeom>
        </p:spPr>
      </p:pic>
      <p:pic>
        <p:nvPicPr>
          <p:cNvPr id="11" name="Graphic 10">
            <a:extLst>
              <a:ext uri="{FF2B5EF4-FFF2-40B4-BE49-F238E27FC236}">
                <a16:creationId xmlns:a16="http://schemas.microsoft.com/office/drawing/2014/main" id="{A7AA9911-BE43-6145-E0E0-A6BECB9E15F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60727" y="2990689"/>
            <a:ext cx="208115" cy="208115"/>
          </a:xfrm>
          <a:prstGeom prst="rect">
            <a:avLst/>
          </a:prstGeom>
        </p:spPr>
      </p:pic>
      <p:pic>
        <p:nvPicPr>
          <p:cNvPr id="12" name="Graphic 11">
            <a:extLst>
              <a:ext uri="{FF2B5EF4-FFF2-40B4-BE49-F238E27FC236}">
                <a16:creationId xmlns:a16="http://schemas.microsoft.com/office/drawing/2014/main" id="{2AF42D2C-5ADC-44DD-94ED-42139FF24A9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11429" y="3356578"/>
            <a:ext cx="208115" cy="208115"/>
          </a:xfrm>
          <a:prstGeom prst="rect">
            <a:avLst/>
          </a:prstGeom>
        </p:spPr>
      </p:pic>
      <p:pic>
        <p:nvPicPr>
          <p:cNvPr id="13" name="Graphic 12">
            <a:extLst>
              <a:ext uri="{FF2B5EF4-FFF2-40B4-BE49-F238E27FC236}">
                <a16:creationId xmlns:a16="http://schemas.microsoft.com/office/drawing/2014/main" id="{320B12D5-DA5C-B672-BC02-8C747384C2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36780" y="3356578"/>
            <a:ext cx="208115" cy="208115"/>
          </a:xfrm>
          <a:prstGeom prst="rect">
            <a:avLst/>
          </a:prstGeom>
        </p:spPr>
      </p:pic>
      <p:pic>
        <p:nvPicPr>
          <p:cNvPr id="14" name="Graphic 13">
            <a:extLst>
              <a:ext uri="{FF2B5EF4-FFF2-40B4-BE49-F238E27FC236}">
                <a16:creationId xmlns:a16="http://schemas.microsoft.com/office/drawing/2014/main" id="{587C0049-79C1-517F-DC5D-7417BAFDE1BC}"/>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170536" y="2990689"/>
            <a:ext cx="137795" cy="208115"/>
          </a:xfrm>
          <a:prstGeom prst="rect">
            <a:avLst/>
          </a:prstGeom>
        </p:spPr>
      </p:pic>
      <p:pic>
        <p:nvPicPr>
          <p:cNvPr id="15" name="Picture 14">
            <a:extLst>
              <a:ext uri="{FF2B5EF4-FFF2-40B4-BE49-F238E27FC236}">
                <a16:creationId xmlns:a16="http://schemas.microsoft.com/office/drawing/2014/main" id="{09343EA0-401F-FF98-2172-AD4021B4C6FA}"/>
              </a:ext>
              <a:ext uri="{C183D7F6-B498-43B3-948B-1728B52AA6E4}">
                <adec:decorative xmlns:adec="http://schemas.microsoft.com/office/drawing/2017/decorative" val="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23376" t="24055" r="24743" b="23997"/>
          <a:stretch/>
        </p:blipFill>
        <p:spPr>
          <a:xfrm>
            <a:off x="8284674" y="2990552"/>
            <a:ext cx="208115" cy="208388"/>
          </a:xfrm>
          <a:prstGeom prst="rect">
            <a:avLst/>
          </a:prstGeom>
        </p:spPr>
      </p:pic>
      <p:pic>
        <p:nvPicPr>
          <p:cNvPr id="16" name="Picture 6">
            <a:extLst>
              <a:ext uri="{FF2B5EF4-FFF2-40B4-BE49-F238E27FC236}">
                <a16:creationId xmlns:a16="http://schemas.microsoft.com/office/drawing/2014/main" id="{0604E8C1-E5E9-5B8C-5932-A208F8AB65F2}"/>
              </a:ext>
              <a:ext uri="{C183D7F6-B498-43B3-948B-1728B52AA6E4}">
                <adec:decorative xmlns:adec="http://schemas.microsoft.com/office/drawing/2017/decorative" val="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911429" y="4088356"/>
            <a:ext cx="208115" cy="20811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4C0A86D3-7052-C949-093D-154485C86E6B}"/>
              </a:ext>
              <a:ext uri="{C183D7F6-B498-43B3-948B-1728B52AA6E4}">
                <adec:decorative xmlns:adec="http://schemas.microsoft.com/office/drawing/2017/decorative" val="1"/>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431632" y="3029710"/>
            <a:ext cx="208115" cy="130072"/>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99A77B56-775A-C6B8-59AE-1D74958F7A3B}"/>
              </a:ext>
              <a:ext uri="{C183D7F6-B498-43B3-948B-1728B52AA6E4}">
                <adec:decorative xmlns:adec="http://schemas.microsoft.com/office/drawing/2017/decorative" val="1"/>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127" t="2" r="80330" b="-369"/>
          <a:stretch/>
        </p:blipFill>
        <p:spPr>
          <a:xfrm>
            <a:off x="10438025" y="2991213"/>
            <a:ext cx="208115" cy="207067"/>
          </a:xfrm>
          <a:prstGeom prst="rect">
            <a:avLst/>
          </a:prstGeom>
        </p:spPr>
      </p:pic>
      <p:sp>
        <p:nvSpPr>
          <p:cNvPr id="19" name="Rounded Rectangle 14">
            <a:extLst>
              <a:ext uri="{FF2B5EF4-FFF2-40B4-BE49-F238E27FC236}">
                <a16:creationId xmlns:a16="http://schemas.microsoft.com/office/drawing/2014/main" id="{A7FD3D82-83AC-A4AE-93AF-EEDCAF260BCA}"/>
              </a:ext>
              <a:ext uri="{C183D7F6-B498-43B3-948B-1728B52AA6E4}">
                <adec:decorative xmlns:adec="http://schemas.microsoft.com/office/drawing/2017/decorative" val="1"/>
              </a:ext>
            </a:extLst>
          </p:cNvPr>
          <p:cNvSpPr/>
          <p:nvPr/>
        </p:nvSpPr>
        <p:spPr bwMode="auto">
          <a:xfrm>
            <a:off x="1795962" y="1412333"/>
            <a:ext cx="9698713" cy="886578"/>
          </a:xfrm>
          <a:prstGeom prst="roundRect">
            <a:avLst>
              <a:gd name="adj" fmla="val 10944"/>
            </a:avLst>
          </a:prstGeom>
          <a:noFill/>
          <a:ln w="12700" cap="rnd">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a:extLst>
              <a:ext uri="{FF2B5EF4-FFF2-40B4-BE49-F238E27FC236}">
                <a16:creationId xmlns:a16="http://schemas.microsoft.com/office/drawing/2014/main" id="{ECAC2D4C-61A1-AD1F-73B1-66B842E10B79}"/>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1821955" y="1608921"/>
            <a:ext cx="237764" cy="230896"/>
          </a:xfrm>
          <a:prstGeom prst="rect">
            <a:avLst/>
          </a:prstGeom>
        </p:spPr>
      </p:pic>
      <p:pic>
        <p:nvPicPr>
          <p:cNvPr id="21" name="Picture 20">
            <a:extLst>
              <a:ext uri="{FF2B5EF4-FFF2-40B4-BE49-F238E27FC236}">
                <a16:creationId xmlns:a16="http://schemas.microsoft.com/office/drawing/2014/main" id="{1F8514C7-117D-3DED-0AEF-DA076E5F287C}"/>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2932666" y="1642073"/>
            <a:ext cx="165640" cy="164592"/>
          </a:xfrm>
          <a:prstGeom prst="rect">
            <a:avLst/>
          </a:prstGeom>
        </p:spPr>
      </p:pic>
      <p:pic>
        <p:nvPicPr>
          <p:cNvPr id="22" name="Picture 21">
            <a:extLst>
              <a:ext uri="{FF2B5EF4-FFF2-40B4-BE49-F238E27FC236}">
                <a16:creationId xmlns:a16="http://schemas.microsoft.com/office/drawing/2014/main" id="{C8F78A4F-BC53-1E93-7BE8-5AE29B837F84}"/>
              </a:ext>
              <a:ext uri="{C183D7F6-B498-43B3-948B-1728B52AA6E4}">
                <adec:decorative xmlns:adec="http://schemas.microsoft.com/office/drawing/2017/decorative" val="1"/>
              </a:ext>
            </a:extLst>
          </p:cNvPr>
          <p:cNvPicPr>
            <a:picLocks noChangeAspect="1"/>
          </p:cNvPicPr>
          <p:nvPr/>
        </p:nvPicPr>
        <p:blipFill rotWithShape="1">
          <a:blip r:embed="rId22"/>
          <a:srcRect t="29690" r="63913" b="31491"/>
          <a:stretch/>
        </p:blipFill>
        <p:spPr>
          <a:xfrm>
            <a:off x="7201175" y="1641004"/>
            <a:ext cx="225815" cy="166730"/>
          </a:xfrm>
          <a:prstGeom prst="rect">
            <a:avLst/>
          </a:prstGeom>
        </p:spPr>
      </p:pic>
      <p:pic>
        <p:nvPicPr>
          <p:cNvPr id="23" name="Picture 22">
            <a:extLst>
              <a:ext uri="{FF2B5EF4-FFF2-40B4-BE49-F238E27FC236}">
                <a16:creationId xmlns:a16="http://schemas.microsoft.com/office/drawing/2014/main" id="{A07AEC78-7359-152C-F84B-88C478BD5E6F}"/>
              </a:ext>
              <a:ext uri="{C183D7F6-B498-43B3-948B-1728B52AA6E4}">
                <adec:decorative xmlns:adec="http://schemas.microsoft.com/office/drawing/2017/decorative" val="1"/>
              </a:ext>
            </a:extLst>
          </p:cNvPr>
          <p:cNvPicPr>
            <a:picLocks noChangeAspect="1"/>
          </p:cNvPicPr>
          <p:nvPr/>
        </p:nvPicPr>
        <p:blipFill>
          <a:blip r:embed="rId23"/>
          <a:stretch>
            <a:fillRect/>
          </a:stretch>
        </p:blipFill>
        <p:spPr>
          <a:xfrm>
            <a:off x="8279967" y="1656694"/>
            <a:ext cx="217528" cy="135350"/>
          </a:xfrm>
          <a:prstGeom prst="rect">
            <a:avLst/>
          </a:prstGeom>
        </p:spPr>
      </p:pic>
      <p:pic>
        <p:nvPicPr>
          <p:cNvPr id="24" name="Picture 23">
            <a:extLst>
              <a:ext uri="{FF2B5EF4-FFF2-40B4-BE49-F238E27FC236}">
                <a16:creationId xmlns:a16="http://schemas.microsoft.com/office/drawing/2014/main" id="{D84F4506-1487-19EE-E439-2ACD6D188746}"/>
              </a:ext>
              <a:ext uri="{C183D7F6-B498-43B3-948B-1728B52AA6E4}">
                <adec:decorative xmlns:adec="http://schemas.microsoft.com/office/drawing/2017/decorative" val="1"/>
              </a:ext>
            </a:extLst>
          </p:cNvPr>
          <p:cNvPicPr>
            <a:picLocks noChangeAspect="1"/>
          </p:cNvPicPr>
          <p:nvPr/>
        </p:nvPicPr>
        <p:blipFill>
          <a:blip r:embed="rId24">
            <a:clrChange>
              <a:clrFrom>
                <a:srgbClr val="FEFEFE"/>
              </a:clrFrom>
              <a:clrTo>
                <a:srgbClr val="FEFEFE">
                  <a:alpha val="0"/>
                </a:srgbClr>
              </a:clrTo>
            </a:clrChange>
          </a:blip>
          <a:stretch>
            <a:fillRect/>
          </a:stretch>
        </p:blipFill>
        <p:spPr>
          <a:xfrm>
            <a:off x="3977594" y="1594657"/>
            <a:ext cx="225082" cy="259425"/>
          </a:xfrm>
          <a:prstGeom prst="rect">
            <a:avLst/>
          </a:prstGeom>
        </p:spPr>
      </p:pic>
      <p:pic>
        <p:nvPicPr>
          <p:cNvPr id="25" name="Picture 24">
            <a:extLst>
              <a:ext uri="{FF2B5EF4-FFF2-40B4-BE49-F238E27FC236}">
                <a16:creationId xmlns:a16="http://schemas.microsoft.com/office/drawing/2014/main" id="{54026B70-92A4-2A22-11FE-0E4D3FEB8DF5}"/>
              </a:ext>
              <a:ext uri="{C183D7F6-B498-43B3-948B-1728B52AA6E4}">
                <adec:decorative xmlns:adec="http://schemas.microsoft.com/office/drawing/2017/decorative" val="1"/>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053740" y="1620193"/>
            <a:ext cx="222089" cy="208353"/>
          </a:xfrm>
          <a:prstGeom prst="rect">
            <a:avLst/>
          </a:prstGeom>
        </p:spPr>
      </p:pic>
      <p:pic>
        <p:nvPicPr>
          <p:cNvPr id="26" name="Picture 2">
            <a:extLst>
              <a:ext uri="{FF2B5EF4-FFF2-40B4-BE49-F238E27FC236}">
                <a16:creationId xmlns:a16="http://schemas.microsoft.com/office/drawing/2014/main" id="{A68669F9-10BA-01E1-1BAC-CF5AB122BE20}"/>
              </a:ext>
              <a:ext uri="{C183D7F6-B498-43B3-948B-1728B52AA6E4}">
                <adec:decorative xmlns:adec="http://schemas.microsoft.com/office/drawing/2017/decorative" val="1"/>
              </a:ext>
            </a:extLst>
          </p:cNvPr>
          <p:cNvPicPr>
            <a:picLocks noChangeAspect="1" noChangeArrowheads="1"/>
          </p:cNvPicPr>
          <p:nvPr/>
        </p:nvPicPr>
        <p:blipFill>
          <a:blip r:embed="rId26" cstate="print">
            <a:extLst>
              <a:ext uri="{BEBA8EAE-BF5A-486C-A8C5-ECC9F3942E4B}">
                <a14:imgProps xmlns:a14="http://schemas.microsoft.com/office/drawing/2010/main">
                  <a14:imgLayer r:embed="rId27">
                    <a14:imgEffect>
                      <a14:backgroundRemoval t="10000" b="90000" l="10000" r="90000">
                        <a14:foregroundMark x1="31013" y1="68313" x2="31013" y2="68313"/>
                        <a14:foregroundMark x1="60338" y1="68313" x2="60338" y2="68313"/>
                        <a14:foregroundMark x1="63924" y1="59259" x2="63924" y2="59259"/>
                        <a14:foregroundMark x1="46203" y1="62551" x2="46203" y2="62551"/>
                      </a14:backgroundRemoval>
                    </a14:imgEffect>
                  </a14:imgLayer>
                </a14:imgProps>
              </a:ext>
              <a:ext uri="{28A0092B-C50C-407E-A947-70E740481C1C}">
                <a14:useLocalDpi xmlns:a14="http://schemas.microsoft.com/office/drawing/2010/main" val="0"/>
              </a:ext>
            </a:extLst>
          </a:blip>
          <a:srcRect/>
          <a:stretch>
            <a:fillRect/>
          </a:stretch>
        </p:blipFill>
        <p:spPr bwMode="auto">
          <a:xfrm>
            <a:off x="1811058" y="1937512"/>
            <a:ext cx="259559" cy="31290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7009679F-5C6C-1806-A6ED-A6DE9C2DCA8E}"/>
              </a:ext>
              <a:ext uri="{C183D7F6-B498-43B3-948B-1728B52AA6E4}">
                <adec:decorative xmlns:adec="http://schemas.microsoft.com/office/drawing/2017/decorative" val="1"/>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10477" t="36119" r="75600" b="36385"/>
          <a:stretch/>
        </p:blipFill>
        <p:spPr bwMode="auto">
          <a:xfrm>
            <a:off x="2899153" y="1980350"/>
            <a:ext cx="232667" cy="2272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F53991C3-38D1-73A4-2E1A-4EF34098D4E4}"/>
              </a:ext>
              <a:ext uri="{C183D7F6-B498-43B3-948B-1728B52AA6E4}">
                <adec:decorative xmlns:adec="http://schemas.microsoft.com/office/drawing/2017/decorative" val="1"/>
              </a:ext>
            </a:extLst>
          </p:cNvPr>
          <p:cNvPicPr>
            <a:picLocks noChangeAspect="1"/>
          </p:cNvPicPr>
          <p:nvPr/>
        </p:nvPicPr>
        <p:blipFill>
          <a:blip r:embed="rId29"/>
          <a:stretch>
            <a:fillRect/>
          </a:stretch>
        </p:blipFill>
        <p:spPr>
          <a:xfrm>
            <a:off x="6151275" y="1638459"/>
            <a:ext cx="176317" cy="171821"/>
          </a:xfrm>
          <a:prstGeom prst="rect">
            <a:avLst/>
          </a:prstGeom>
        </p:spPr>
      </p:pic>
      <p:pic>
        <p:nvPicPr>
          <p:cNvPr id="29" name="Graphic 28">
            <a:extLst>
              <a:ext uri="{FF2B5EF4-FFF2-40B4-BE49-F238E27FC236}">
                <a16:creationId xmlns:a16="http://schemas.microsoft.com/office/drawing/2014/main" id="{94C3D4D9-F42C-C485-EC5F-D0A161812FF4}"/>
              </a:ext>
              <a:ext uri="{C183D7F6-B498-43B3-948B-1728B52AA6E4}">
                <adec:decorative xmlns:adec="http://schemas.microsoft.com/office/drawing/2017/decorative" val="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963542" y="2011250"/>
            <a:ext cx="253186" cy="154991"/>
          </a:xfrm>
          <a:prstGeom prst="rect">
            <a:avLst/>
          </a:prstGeom>
        </p:spPr>
      </p:pic>
      <p:pic>
        <p:nvPicPr>
          <p:cNvPr id="30" name="Picture 29">
            <a:extLst>
              <a:ext uri="{FF2B5EF4-FFF2-40B4-BE49-F238E27FC236}">
                <a16:creationId xmlns:a16="http://schemas.microsoft.com/office/drawing/2014/main" id="{1CA96A26-204D-443E-CEB4-82ABA0A074FF}"/>
              </a:ext>
              <a:ext uri="{C183D7F6-B498-43B3-948B-1728B52AA6E4}">
                <adec:decorative xmlns:adec="http://schemas.microsoft.com/office/drawing/2017/decorative" val="1"/>
              </a:ext>
            </a:extLst>
          </p:cNvPr>
          <p:cNvPicPr>
            <a:picLocks noChangeAspect="1"/>
          </p:cNvPicPr>
          <p:nvPr/>
        </p:nvPicPr>
        <p:blipFill>
          <a:blip r:embed="rId32"/>
          <a:stretch>
            <a:fillRect/>
          </a:stretch>
        </p:blipFill>
        <p:spPr>
          <a:xfrm>
            <a:off x="5057802" y="1993525"/>
            <a:ext cx="213965" cy="200878"/>
          </a:xfrm>
          <a:prstGeom prst="rect">
            <a:avLst/>
          </a:prstGeom>
        </p:spPr>
      </p:pic>
      <p:pic>
        <p:nvPicPr>
          <p:cNvPr id="31" name="Picture 30">
            <a:extLst>
              <a:ext uri="{FF2B5EF4-FFF2-40B4-BE49-F238E27FC236}">
                <a16:creationId xmlns:a16="http://schemas.microsoft.com/office/drawing/2014/main" id="{4856DB80-E042-14E9-FAA7-F54A3ECEBDE2}"/>
              </a:ext>
              <a:ext uri="{C183D7F6-B498-43B3-948B-1728B52AA6E4}">
                <adec:decorative xmlns:adec="http://schemas.microsoft.com/office/drawing/2017/decorative" val="1"/>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901289" y="2987701"/>
            <a:ext cx="228394" cy="214090"/>
          </a:xfrm>
          <a:prstGeom prst="rect">
            <a:avLst/>
          </a:prstGeom>
        </p:spPr>
      </p:pic>
      <p:pic>
        <p:nvPicPr>
          <p:cNvPr id="32" name="Picture 31">
            <a:extLst>
              <a:ext uri="{FF2B5EF4-FFF2-40B4-BE49-F238E27FC236}">
                <a16:creationId xmlns:a16="http://schemas.microsoft.com/office/drawing/2014/main" id="{AD0C7A0C-C498-D6DC-6F1E-5BDE7262A6A6}"/>
              </a:ext>
              <a:ext uri="{C183D7F6-B498-43B3-948B-1728B52AA6E4}">
                <adec:decorative xmlns:adec="http://schemas.microsoft.com/office/drawing/2017/decorative" val="1"/>
              </a:ext>
            </a:extLst>
          </p:cNvPr>
          <p:cNvPicPr>
            <a:picLocks noChangeAspect="1"/>
          </p:cNvPicPr>
          <p:nvPr/>
        </p:nvPicPr>
        <p:blipFill>
          <a:blip r:embed="rId34"/>
          <a:stretch>
            <a:fillRect/>
          </a:stretch>
        </p:blipFill>
        <p:spPr>
          <a:xfrm>
            <a:off x="1813655" y="2972591"/>
            <a:ext cx="254364" cy="244311"/>
          </a:xfrm>
          <a:prstGeom prst="rect">
            <a:avLst/>
          </a:prstGeom>
        </p:spPr>
      </p:pic>
      <p:pic>
        <p:nvPicPr>
          <p:cNvPr id="33" name="Picture 32">
            <a:extLst>
              <a:ext uri="{FF2B5EF4-FFF2-40B4-BE49-F238E27FC236}">
                <a16:creationId xmlns:a16="http://schemas.microsoft.com/office/drawing/2014/main" id="{B3DEBC02-9342-157F-5F8D-D932BA0D076F}"/>
              </a:ext>
              <a:ext uri="{C183D7F6-B498-43B3-948B-1728B52AA6E4}">
                <adec:decorative xmlns:adec="http://schemas.microsoft.com/office/drawing/2017/decorative" val="1"/>
              </a:ext>
            </a:extLst>
          </p:cNvPr>
          <p:cNvPicPr>
            <a:picLocks noChangeAspect="1"/>
          </p:cNvPicPr>
          <p:nvPr/>
        </p:nvPicPr>
        <p:blipFill>
          <a:blip r:embed="rId35" cstate="print">
            <a:extLst>
              <a:ext uri="{28A0092B-C50C-407E-A947-70E740481C1C}">
                <a14:useLocalDpi xmlns:a14="http://schemas.microsoft.com/office/drawing/2010/main" val="0"/>
              </a:ext>
            </a:extLst>
          </a:blip>
          <a:srcRect/>
          <a:stretch/>
        </p:blipFill>
        <p:spPr>
          <a:xfrm>
            <a:off x="5034129" y="4059821"/>
            <a:ext cx="261311" cy="265184"/>
          </a:xfrm>
          <a:prstGeom prst="rect">
            <a:avLst/>
          </a:prstGeom>
        </p:spPr>
      </p:pic>
      <p:pic>
        <p:nvPicPr>
          <p:cNvPr id="34" name="Picture 33">
            <a:extLst>
              <a:ext uri="{FF2B5EF4-FFF2-40B4-BE49-F238E27FC236}">
                <a16:creationId xmlns:a16="http://schemas.microsoft.com/office/drawing/2014/main" id="{A0B91E75-EAF2-3795-BC3F-4EDCF4C2E932}"/>
              </a:ext>
              <a:ext uri="{C183D7F6-B498-43B3-948B-1728B52AA6E4}">
                <adec:decorative xmlns:adec="http://schemas.microsoft.com/office/drawing/2017/decorative" val="1"/>
              </a:ext>
            </a:extLst>
          </p:cNvPr>
          <p:cNvPicPr>
            <a:picLocks noChangeAspect="1"/>
          </p:cNvPicPr>
          <p:nvPr/>
        </p:nvPicPr>
        <p:blipFill>
          <a:blip r:embed="rId36"/>
          <a:stretch>
            <a:fillRect/>
          </a:stretch>
        </p:blipFill>
        <p:spPr>
          <a:xfrm>
            <a:off x="7198490" y="3710932"/>
            <a:ext cx="231185" cy="231185"/>
          </a:xfrm>
          <a:prstGeom prst="rect">
            <a:avLst/>
          </a:prstGeom>
        </p:spPr>
      </p:pic>
      <p:pic>
        <p:nvPicPr>
          <p:cNvPr id="36" name="Picture 35">
            <a:extLst>
              <a:ext uri="{FF2B5EF4-FFF2-40B4-BE49-F238E27FC236}">
                <a16:creationId xmlns:a16="http://schemas.microsoft.com/office/drawing/2014/main" id="{88F98E76-D434-D2AF-EA73-208E1264FBCF}"/>
              </a:ext>
              <a:ext uri="{C183D7F6-B498-43B3-948B-1728B52AA6E4}">
                <adec:decorative xmlns:adec="http://schemas.microsoft.com/office/drawing/2017/decorative" val="1"/>
              </a:ext>
            </a:extLst>
          </p:cNvPr>
          <p:cNvPicPr>
            <a:picLocks noChangeAspect="1"/>
          </p:cNvPicPr>
          <p:nvPr/>
        </p:nvPicPr>
        <p:blipFill>
          <a:blip r:embed="rId37"/>
          <a:stretch>
            <a:fillRect/>
          </a:stretch>
        </p:blipFill>
        <p:spPr>
          <a:xfrm>
            <a:off x="3974543" y="3711995"/>
            <a:ext cx="231185" cy="229059"/>
          </a:xfrm>
          <a:prstGeom prst="rect">
            <a:avLst/>
          </a:prstGeom>
        </p:spPr>
      </p:pic>
      <p:pic>
        <p:nvPicPr>
          <p:cNvPr id="37" name="Picture 36">
            <a:extLst>
              <a:ext uri="{FF2B5EF4-FFF2-40B4-BE49-F238E27FC236}">
                <a16:creationId xmlns:a16="http://schemas.microsoft.com/office/drawing/2014/main" id="{DDC2EE63-EB16-7DBF-0B93-E1C51B7A15E6}"/>
              </a:ext>
              <a:ext uri="{C183D7F6-B498-43B3-948B-1728B52AA6E4}">
                <adec:decorative xmlns:adec="http://schemas.microsoft.com/office/drawing/2017/decorative" val="1"/>
              </a:ext>
            </a:extLst>
          </p:cNvPr>
          <p:cNvPicPr>
            <a:picLocks noChangeAspect="1"/>
          </p:cNvPicPr>
          <p:nvPr/>
        </p:nvPicPr>
        <p:blipFill>
          <a:blip r:embed="rId38"/>
          <a:stretch>
            <a:fillRect/>
          </a:stretch>
        </p:blipFill>
        <p:spPr>
          <a:xfrm>
            <a:off x="6123841" y="3710932"/>
            <a:ext cx="231185" cy="231185"/>
          </a:xfrm>
          <a:prstGeom prst="rect">
            <a:avLst/>
          </a:prstGeom>
        </p:spPr>
      </p:pic>
      <p:pic>
        <p:nvPicPr>
          <p:cNvPr id="38" name="Picture 37">
            <a:extLst>
              <a:ext uri="{FF2B5EF4-FFF2-40B4-BE49-F238E27FC236}">
                <a16:creationId xmlns:a16="http://schemas.microsoft.com/office/drawing/2014/main" id="{EF08053A-7970-7F0A-DFA5-2FC97C672A0C}"/>
              </a:ext>
              <a:ext uri="{C183D7F6-B498-43B3-948B-1728B52AA6E4}">
                <adec:decorative xmlns:adec="http://schemas.microsoft.com/office/drawing/2017/decorative" val="1"/>
              </a:ext>
            </a:extLst>
          </p:cNvPr>
          <p:cNvPicPr>
            <a:picLocks noChangeAspect="1"/>
          </p:cNvPicPr>
          <p:nvPr/>
        </p:nvPicPr>
        <p:blipFill>
          <a:blip r:embed="rId39"/>
          <a:stretch>
            <a:fillRect/>
          </a:stretch>
        </p:blipFill>
        <p:spPr>
          <a:xfrm>
            <a:off x="5049192" y="3710932"/>
            <a:ext cx="231185" cy="231185"/>
          </a:xfrm>
          <a:prstGeom prst="rect">
            <a:avLst/>
          </a:prstGeom>
        </p:spPr>
      </p:pic>
      <p:pic>
        <p:nvPicPr>
          <p:cNvPr id="39" name="Picture 38">
            <a:extLst>
              <a:ext uri="{FF2B5EF4-FFF2-40B4-BE49-F238E27FC236}">
                <a16:creationId xmlns:a16="http://schemas.microsoft.com/office/drawing/2014/main" id="{DC6D14DB-F362-9D7E-B5D9-DBCA410A7D30}"/>
              </a:ext>
              <a:ext uri="{C183D7F6-B498-43B3-948B-1728B52AA6E4}">
                <adec:decorative xmlns:adec="http://schemas.microsoft.com/office/drawing/2017/decorative" val="1"/>
              </a:ext>
            </a:extLst>
          </p:cNvPr>
          <p:cNvPicPr>
            <a:picLocks noChangeAspect="1"/>
          </p:cNvPicPr>
          <p:nvPr/>
        </p:nvPicPr>
        <p:blipFill>
          <a:blip r:embed="rId40"/>
          <a:stretch>
            <a:fillRect/>
          </a:stretch>
        </p:blipFill>
        <p:spPr>
          <a:xfrm>
            <a:off x="8276411" y="3711995"/>
            <a:ext cx="224641" cy="229059"/>
          </a:xfrm>
          <a:prstGeom prst="rect">
            <a:avLst/>
          </a:prstGeom>
        </p:spPr>
      </p:pic>
      <p:pic>
        <p:nvPicPr>
          <p:cNvPr id="40" name="Picture 39">
            <a:extLst>
              <a:ext uri="{FF2B5EF4-FFF2-40B4-BE49-F238E27FC236}">
                <a16:creationId xmlns:a16="http://schemas.microsoft.com/office/drawing/2014/main" id="{3CED2ED9-F3A5-18FB-5696-69DCF73A8227}"/>
              </a:ext>
              <a:ext uri="{C183D7F6-B498-43B3-948B-1728B52AA6E4}">
                <adec:decorative xmlns:adec="http://schemas.microsoft.com/office/drawing/2017/decorative" val="1"/>
              </a:ext>
            </a:extLst>
          </p:cNvPr>
          <p:cNvPicPr>
            <a:picLocks noChangeAspect="1"/>
          </p:cNvPicPr>
          <p:nvPr/>
        </p:nvPicPr>
        <p:blipFill>
          <a:blip r:embed="rId41">
            <a:extLst>
              <a:ext uri="{BEBA8EAE-BF5A-486C-A8C5-ECC9F3942E4B}">
                <a14:imgProps xmlns:a14="http://schemas.microsoft.com/office/drawing/2010/main">
                  <a14:imgLayer r:embed="rId42">
                    <a14:imgEffect>
                      <a14:backgroundRemoval t="10807" b="84516" l="6955" r="41187">
                        <a14:foregroundMark x1="29584" y1="35965" x2="29584" y2="35965"/>
                        <a14:foregroundMark x1="32126" y1="38246" x2="32126" y2="38246"/>
                        <a14:foregroundMark x1="31664" y1="36316" x2="31664" y2="36316"/>
                        <a14:foregroundMark x1="28197" y1="34912" x2="28197" y2="34912"/>
                        <a14:foregroundMark x1="26733" y1="35088" x2="26733" y2="35088"/>
                        <a14:foregroundMark x1="29045" y1="34386" x2="29045" y2="34386"/>
                        <a14:foregroundMark x1="32897" y1="33684" x2="32897" y2="33684"/>
                        <a14:foregroundMark x1="33359" y1="34912" x2="33359" y2="34912"/>
                        <a14:foregroundMark x1="28891" y1="48421" x2="28891" y2="48421"/>
                        <a14:foregroundMark x1="26271" y1="47895" x2="26271" y2="47895"/>
                        <a14:foregroundMark x1="27504" y1="46316" x2="27504" y2="46316"/>
                        <a14:foregroundMark x1="31510" y1="46316" x2="31510" y2="46316"/>
                        <a14:foregroundMark x1="32435" y1="47719" x2="32435" y2="47719"/>
                        <a14:foregroundMark x1="32974" y1="48772" x2="32203" y2="48947"/>
                        <a14:foregroundMark x1="30200" y1="48246" x2="30200" y2="48246"/>
                        <a14:foregroundMark x1="29507" y1="64035" x2="29507" y2="64035"/>
                        <a14:foregroundMark x1="27196" y1="64035" x2="27196" y2="64035"/>
                        <a14:foregroundMark x1="27504" y1="62456" x2="27504" y2="62456"/>
                        <a14:foregroundMark x1="30663" y1="61930" x2="30663" y2="61930"/>
                        <a14:foregroundMark x1="31895" y1="61930" x2="32049" y2="61930"/>
                        <a14:foregroundMark x1="32897" y1="63509" x2="32897" y2="63509"/>
                        <a14:foregroundMark x1="33282" y1="61228" x2="33282" y2="61228"/>
                        <a14:foregroundMark x1="29430" y1="62807" x2="29430" y2="62807"/>
                        <a14:foregroundMark x1="28120" y1="63860" x2="28120" y2="63860"/>
                        <a14:foregroundMark x1="27735" y1="62807" x2="27735" y2="62807"/>
                        <a14:foregroundMark x1="30586" y1="61930" x2="30586" y2="61930"/>
                      </a14:backgroundRemoval>
                    </a14:imgEffect>
                  </a14:imgLayer>
                </a14:imgProps>
              </a:ext>
            </a:extLst>
          </a:blip>
          <a:srcRect l="6962" t="14294" r="60405" b="18967"/>
          <a:stretch/>
        </p:blipFill>
        <p:spPr>
          <a:xfrm>
            <a:off x="1829216" y="4105773"/>
            <a:ext cx="223242" cy="173281"/>
          </a:xfrm>
          <a:prstGeom prst="rect">
            <a:avLst/>
          </a:prstGeom>
        </p:spPr>
      </p:pic>
      <p:pic>
        <p:nvPicPr>
          <p:cNvPr id="41" name="Graphic 40">
            <a:extLst>
              <a:ext uri="{FF2B5EF4-FFF2-40B4-BE49-F238E27FC236}">
                <a16:creationId xmlns:a16="http://schemas.microsoft.com/office/drawing/2014/main" id="{6C04B1BB-7E5B-5A5E-8BFE-60AB26250A49}"/>
              </a:ext>
              <a:ext uri="{C183D7F6-B498-43B3-948B-1728B52AA6E4}">
                <adec:decorative xmlns:adec="http://schemas.microsoft.com/office/drawing/2017/decorative" val="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060727" y="3356578"/>
            <a:ext cx="208115" cy="208115"/>
          </a:xfrm>
          <a:prstGeom prst="rect">
            <a:avLst/>
          </a:prstGeom>
        </p:spPr>
      </p:pic>
      <p:pic>
        <p:nvPicPr>
          <p:cNvPr id="42" name="Picture 41">
            <a:extLst>
              <a:ext uri="{FF2B5EF4-FFF2-40B4-BE49-F238E27FC236}">
                <a16:creationId xmlns:a16="http://schemas.microsoft.com/office/drawing/2014/main" id="{F9C1DFA5-0DA0-1020-1155-A6F7B6610E51}"/>
              </a:ext>
              <a:ext uri="{C183D7F6-B498-43B3-948B-1728B52AA6E4}">
                <adec:decorative xmlns:adec="http://schemas.microsoft.com/office/drawing/2017/decorative" val="1"/>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6152793" y="4105773"/>
            <a:ext cx="173281" cy="173281"/>
          </a:xfrm>
          <a:prstGeom prst="rect">
            <a:avLst/>
          </a:prstGeom>
        </p:spPr>
      </p:pic>
      <p:pic>
        <p:nvPicPr>
          <p:cNvPr id="43" name="Graphic 42">
            <a:extLst>
              <a:ext uri="{FF2B5EF4-FFF2-40B4-BE49-F238E27FC236}">
                <a16:creationId xmlns:a16="http://schemas.microsoft.com/office/drawing/2014/main" id="{5258C035-F308-1467-E37B-90478B27F235}"/>
              </a:ext>
              <a:ext uri="{C183D7F6-B498-43B3-948B-1728B52AA6E4}">
                <adec:decorative xmlns:adec="http://schemas.microsoft.com/office/drawing/2017/decorative" val="1"/>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6135376" y="3356578"/>
            <a:ext cx="208115" cy="208115"/>
          </a:xfrm>
          <a:prstGeom prst="rect">
            <a:avLst/>
          </a:prstGeom>
        </p:spPr>
      </p:pic>
      <p:pic>
        <p:nvPicPr>
          <p:cNvPr id="44" name="Graphic 43">
            <a:extLst>
              <a:ext uri="{FF2B5EF4-FFF2-40B4-BE49-F238E27FC236}">
                <a16:creationId xmlns:a16="http://schemas.microsoft.com/office/drawing/2014/main" id="{6CBB6856-AD86-E878-46A3-5E461DB98B98}"/>
              </a:ext>
              <a:ext uri="{C183D7F6-B498-43B3-948B-1728B52AA6E4}">
                <adec:decorative xmlns:adec="http://schemas.microsoft.com/office/drawing/2017/decorative" val="1"/>
              </a:ext>
            </a:extLst>
          </p:cNvPr>
          <p:cNvPicPr>
            <a:picLocks noChangeAspect="1"/>
          </p:cNvPicPr>
          <p:nvPr/>
        </p:nvPicPr>
        <p:blipFill rotWithShape="1">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rcRect r="86096"/>
          <a:stretch/>
        </p:blipFill>
        <p:spPr>
          <a:xfrm>
            <a:off x="9446275" y="4114943"/>
            <a:ext cx="178828" cy="173641"/>
          </a:xfrm>
          <a:prstGeom prst="rect">
            <a:avLst/>
          </a:prstGeom>
        </p:spPr>
      </p:pic>
      <p:pic>
        <p:nvPicPr>
          <p:cNvPr id="45" name="Picture 44">
            <a:extLst>
              <a:ext uri="{FF2B5EF4-FFF2-40B4-BE49-F238E27FC236}">
                <a16:creationId xmlns:a16="http://schemas.microsoft.com/office/drawing/2014/main" id="{3EB7F6ED-505F-D251-A003-8ED9DC07662B}"/>
              </a:ext>
              <a:ext uri="{C183D7F6-B498-43B3-948B-1728B52AA6E4}">
                <adec:decorative xmlns:adec="http://schemas.microsoft.com/office/drawing/2017/decorative" val="1"/>
              </a:ext>
            </a:extLst>
          </p:cNvPr>
          <p:cNvPicPr>
            <a:picLocks noChangeAspect="1"/>
          </p:cNvPicPr>
          <p:nvPr/>
        </p:nvPicPr>
        <p:blipFill>
          <a:blip r:embed="rId50" cstate="print">
            <a:duotone>
              <a:prstClr val="black"/>
              <a:schemeClr val="accent2">
                <a:tint val="45000"/>
                <a:satMod val="400000"/>
              </a:schemeClr>
            </a:duotone>
            <a:extLst>
              <a:ext uri="{BEBA8EAE-BF5A-486C-A8C5-ECC9F3942E4B}">
                <a14:imgProps xmlns:a14="http://schemas.microsoft.com/office/drawing/2010/main">
                  <a14:imgLayer r:embed="rId51">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1521" y="3779222"/>
            <a:ext cx="241122" cy="94604"/>
          </a:xfrm>
          <a:prstGeom prst="rect">
            <a:avLst/>
          </a:prstGeom>
        </p:spPr>
      </p:pic>
      <p:pic>
        <p:nvPicPr>
          <p:cNvPr id="46" name="Graphic 45">
            <a:extLst>
              <a:ext uri="{FF2B5EF4-FFF2-40B4-BE49-F238E27FC236}">
                <a16:creationId xmlns:a16="http://schemas.microsoft.com/office/drawing/2014/main" id="{09A4BB04-6C69-83BA-2C87-E5314C0541C3}"/>
              </a:ext>
              <a:ext uri="{C183D7F6-B498-43B3-948B-1728B52AA6E4}">
                <adec:decorative xmlns:adec="http://schemas.microsoft.com/office/drawing/2017/decorative" val="1"/>
              </a:ext>
            </a:extLst>
          </p:cNvPr>
          <p:cNvPicPr>
            <a:picLocks noChangeAspect="1"/>
          </p:cNvPicPr>
          <p:nvPr/>
        </p:nvPicPr>
        <p:blipFill>
          <a:blip r:embed="rId52">
            <a:duotone>
              <a:prstClr val="black"/>
              <a:schemeClr val="accent2">
                <a:tint val="45000"/>
                <a:satMod val="400000"/>
              </a:schemeClr>
            </a:duotone>
            <a:extLst>
              <a:ext uri="{96DAC541-7B7A-43D3-8B79-37D633B846F1}">
                <asvg:svgBlip xmlns:asvg="http://schemas.microsoft.com/office/drawing/2016/SVG/main" r:embed="rId53"/>
              </a:ext>
            </a:extLst>
          </a:blip>
          <a:stretch>
            <a:fillRect/>
          </a:stretch>
        </p:blipFill>
        <p:spPr>
          <a:xfrm>
            <a:off x="10400872" y="4150349"/>
            <a:ext cx="282420" cy="84129"/>
          </a:xfrm>
          <a:prstGeom prst="rect">
            <a:avLst/>
          </a:prstGeom>
        </p:spPr>
      </p:pic>
      <p:sp>
        <p:nvSpPr>
          <p:cNvPr id="47" name="Rounded Rectangle 11">
            <a:extLst>
              <a:ext uri="{FF2B5EF4-FFF2-40B4-BE49-F238E27FC236}">
                <a16:creationId xmlns:a16="http://schemas.microsoft.com/office/drawing/2014/main" id="{2F25C1CF-F073-F6BC-AA90-14D0717F8360}"/>
              </a:ext>
              <a:ext uri="{C183D7F6-B498-43B3-948B-1728B52AA6E4}">
                <adec:decorative xmlns:adec="http://schemas.microsoft.com/office/drawing/2017/decorative" val="1"/>
              </a:ext>
            </a:extLst>
          </p:cNvPr>
          <p:cNvSpPr/>
          <p:nvPr/>
        </p:nvSpPr>
        <p:spPr bwMode="auto">
          <a:xfrm>
            <a:off x="1795962" y="5740017"/>
            <a:ext cx="9701784" cy="484632"/>
          </a:xfrm>
          <a:prstGeom prst="roundRect">
            <a:avLst>
              <a:gd name="adj" fmla="val 22532"/>
            </a:avLst>
          </a:prstGeom>
          <a:noFill/>
          <a:ln w="12700" cap="rnd">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48" name="Picture 47">
            <a:extLst>
              <a:ext uri="{FF2B5EF4-FFF2-40B4-BE49-F238E27FC236}">
                <a16:creationId xmlns:a16="http://schemas.microsoft.com/office/drawing/2014/main" id="{9A8ABCAB-5263-7ECC-51C2-5D38FCB8F958}"/>
              </a:ext>
              <a:ext uri="{C183D7F6-B498-43B3-948B-1728B52AA6E4}">
                <adec:decorative xmlns:adec="http://schemas.microsoft.com/office/drawing/2017/decorative" val="1"/>
              </a:ext>
            </a:extLst>
          </p:cNvPr>
          <p:cNvPicPr>
            <a:picLocks noChangeAspect="1"/>
          </p:cNvPicPr>
          <p:nvPr/>
        </p:nvPicPr>
        <p:blipFill>
          <a:blip r:embed="rId54" cstate="print">
            <a:extLst>
              <a:ext uri="{28A0092B-C50C-407E-A947-70E740481C1C}">
                <a14:useLocalDpi xmlns:a14="http://schemas.microsoft.com/office/drawing/2010/main" val="0"/>
              </a:ext>
            </a:extLst>
          </a:blip>
          <a:srcRect/>
          <a:stretch/>
        </p:blipFill>
        <p:spPr>
          <a:xfrm>
            <a:off x="1846828" y="5900152"/>
            <a:ext cx="236465" cy="245302"/>
          </a:xfrm>
          <a:prstGeom prst="rect">
            <a:avLst/>
          </a:prstGeom>
        </p:spPr>
      </p:pic>
      <p:pic>
        <p:nvPicPr>
          <p:cNvPr id="49" name="Graphic 48">
            <a:extLst>
              <a:ext uri="{FF2B5EF4-FFF2-40B4-BE49-F238E27FC236}">
                <a16:creationId xmlns:a16="http://schemas.microsoft.com/office/drawing/2014/main" id="{0B84E207-535C-53E9-1685-8A09925175FF}"/>
              </a:ext>
              <a:ext uri="{C183D7F6-B498-43B3-948B-1728B52AA6E4}">
                <adec:decorative xmlns:adec="http://schemas.microsoft.com/office/drawing/2017/decorative" val="1"/>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491683" y="5914444"/>
            <a:ext cx="216718" cy="216718"/>
          </a:xfrm>
          <a:prstGeom prst="rect">
            <a:avLst/>
          </a:prstGeom>
        </p:spPr>
      </p:pic>
      <p:pic>
        <p:nvPicPr>
          <p:cNvPr id="50" name="Graphic 49">
            <a:extLst>
              <a:ext uri="{FF2B5EF4-FFF2-40B4-BE49-F238E27FC236}">
                <a16:creationId xmlns:a16="http://schemas.microsoft.com/office/drawing/2014/main" id="{6450D354-B1CD-D188-A99C-48FFE9C9643B}"/>
              </a:ext>
              <a:ext uri="{C183D7F6-B498-43B3-948B-1728B52AA6E4}">
                <adec:decorative xmlns:adec="http://schemas.microsoft.com/office/drawing/2017/decorative" val="1"/>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4891305" y="5925293"/>
            <a:ext cx="195020" cy="195020"/>
          </a:xfrm>
          <a:prstGeom prst="rect">
            <a:avLst/>
          </a:prstGeom>
        </p:spPr>
      </p:pic>
      <p:pic>
        <p:nvPicPr>
          <p:cNvPr id="51" name="Graphic 50">
            <a:extLst>
              <a:ext uri="{FF2B5EF4-FFF2-40B4-BE49-F238E27FC236}">
                <a16:creationId xmlns:a16="http://schemas.microsoft.com/office/drawing/2014/main" id="{CEB1AB7E-689D-EADF-638A-ADCF41FD7FAB}"/>
              </a:ext>
              <a:ext uri="{C183D7F6-B498-43B3-948B-1728B52AA6E4}">
                <adec:decorative xmlns:adec="http://schemas.microsoft.com/office/drawing/2017/decorative" val="1"/>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5830529" y="5927361"/>
            <a:ext cx="190884" cy="190884"/>
          </a:xfrm>
          <a:prstGeom prst="rect">
            <a:avLst/>
          </a:prstGeom>
        </p:spPr>
      </p:pic>
      <p:pic>
        <p:nvPicPr>
          <p:cNvPr id="52" name="Graphic 51">
            <a:extLst>
              <a:ext uri="{FF2B5EF4-FFF2-40B4-BE49-F238E27FC236}">
                <a16:creationId xmlns:a16="http://schemas.microsoft.com/office/drawing/2014/main" id="{A65DC57F-194E-555C-5F6D-4A668F92F93F}"/>
              </a:ext>
              <a:ext uri="{C183D7F6-B498-43B3-948B-1728B52AA6E4}">
                <adec:decorative xmlns:adec="http://schemas.microsoft.com/office/drawing/2017/decorative" val="1"/>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969437" y="5928936"/>
            <a:ext cx="187735" cy="187735"/>
          </a:xfrm>
          <a:prstGeom prst="rect">
            <a:avLst/>
          </a:prstGeom>
        </p:spPr>
      </p:pic>
      <p:pic>
        <p:nvPicPr>
          <p:cNvPr id="53" name="Graphic 52">
            <a:extLst>
              <a:ext uri="{FF2B5EF4-FFF2-40B4-BE49-F238E27FC236}">
                <a16:creationId xmlns:a16="http://schemas.microsoft.com/office/drawing/2014/main" id="{A04F7ABD-0518-35CD-D06A-F53722CF4FDE}"/>
              </a:ext>
              <a:ext uri="{C183D7F6-B498-43B3-948B-1728B52AA6E4}">
                <adec:decorative xmlns:adec="http://schemas.microsoft.com/office/drawing/2017/decorative" val="1"/>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0026892" y="5908607"/>
            <a:ext cx="228393" cy="228393"/>
          </a:xfrm>
          <a:prstGeom prst="rect">
            <a:avLst/>
          </a:prstGeom>
        </p:spPr>
      </p:pic>
      <p:pic>
        <p:nvPicPr>
          <p:cNvPr id="54" name="Picture 53">
            <a:extLst>
              <a:ext uri="{FF2B5EF4-FFF2-40B4-BE49-F238E27FC236}">
                <a16:creationId xmlns:a16="http://schemas.microsoft.com/office/drawing/2014/main" id="{4D669703-3F8D-3446-4571-3F0CD4299CE4}"/>
              </a:ext>
              <a:ext uri="{C183D7F6-B498-43B3-948B-1728B52AA6E4}">
                <adec:decorative xmlns:adec="http://schemas.microsoft.com/office/drawing/2017/decorative" val="1"/>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3986078" y="4088356"/>
            <a:ext cx="208115" cy="208115"/>
          </a:xfrm>
          <a:prstGeom prst="rect">
            <a:avLst/>
          </a:prstGeom>
        </p:spPr>
      </p:pic>
      <p:pic>
        <p:nvPicPr>
          <p:cNvPr id="55" name="Graphic 54">
            <a:extLst>
              <a:ext uri="{FF2B5EF4-FFF2-40B4-BE49-F238E27FC236}">
                <a16:creationId xmlns:a16="http://schemas.microsoft.com/office/drawing/2014/main" id="{0556EC06-74C3-39FB-AB75-1884073F29F3}"/>
              </a:ext>
              <a:ext uri="{C183D7F6-B498-43B3-948B-1728B52AA6E4}">
                <adec:decorative xmlns:adec="http://schemas.microsoft.com/office/drawing/2017/decorative" val="1"/>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3975938" y="3346438"/>
            <a:ext cx="228394" cy="228394"/>
          </a:xfrm>
          <a:prstGeom prst="rect">
            <a:avLst/>
          </a:prstGeom>
        </p:spPr>
      </p:pic>
      <p:pic>
        <p:nvPicPr>
          <p:cNvPr id="56" name="Graphic 55">
            <a:extLst>
              <a:ext uri="{FF2B5EF4-FFF2-40B4-BE49-F238E27FC236}">
                <a16:creationId xmlns:a16="http://schemas.microsoft.com/office/drawing/2014/main" id="{7992FF70-29FD-AE30-8ADB-1B7B2376A74E}"/>
              </a:ext>
              <a:ext uri="{C183D7F6-B498-43B3-948B-1728B52AA6E4}">
                <adec:decorative xmlns:adec="http://schemas.microsoft.com/office/drawing/2017/decorative" val="1"/>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199886" y="2980550"/>
            <a:ext cx="228393" cy="228393"/>
          </a:xfrm>
          <a:prstGeom prst="rect">
            <a:avLst/>
          </a:prstGeom>
        </p:spPr>
      </p:pic>
      <p:pic>
        <p:nvPicPr>
          <p:cNvPr id="57" name="Picture 2">
            <a:extLst>
              <a:ext uri="{FF2B5EF4-FFF2-40B4-BE49-F238E27FC236}">
                <a16:creationId xmlns:a16="http://schemas.microsoft.com/office/drawing/2014/main" id="{E42C3B92-7430-551F-C89E-A503A7323F70}"/>
              </a:ext>
              <a:ext uri="{C183D7F6-B498-43B3-948B-1728B52AA6E4}">
                <adec:decorative xmlns:adec="http://schemas.microsoft.com/office/drawing/2017/decorative" val="1"/>
              </a:ext>
            </a:extLst>
          </p:cNvPr>
          <p:cNvPicPr>
            <a:picLocks noChangeAspect="1" noChangeArrowheads="1"/>
          </p:cNvPicPr>
          <p:nvPr/>
        </p:nvPicPr>
        <p:blipFill rotWithShape="1">
          <a:blip r:embed="rId70" cstate="print">
            <a:extLst>
              <a:ext uri="{28A0092B-C50C-407E-A947-70E740481C1C}">
                <a14:useLocalDpi xmlns:a14="http://schemas.microsoft.com/office/drawing/2010/main" val="0"/>
              </a:ext>
            </a:extLst>
          </a:blip>
          <a:srcRect l="11096" t="15503" r="7772" b="1760"/>
          <a:stretch/>
        </p:blipFill>
        <p:spPr bwMode="auto">
          <a:xfrm>
            <a:off x="9427309" y="3711883"/>
            <a:ext cx="216761" cy="224355"/>
          </a:xfrm>
          <a:prstGeom prst="rect">
            <a:avLst/>
          </a:prstGeom>
          <a:noFill/>
          <a:extLst>
            <a:ext uri="{909E8E84-426E-40DD-AFC4-6F175D3DCCD1}">
              <a14:hiddenFill xmlns:a14="http://schemas.microsoft.com/office/drawing/2010/main">
                <a:solidFill>
                  <a:srgbClr val="FFFFFF"/>
                </a:solidFill>
              </a14:hiddenFill>
            </a:ext>
          </a:extLst>
        </p:spPr>
      </p:pic>
      <p:pic>
        <p:nvPicPr>
          <p:cNvPr id="58" name="Graphic 57">
            <a:extLst>
              <a:ext uri="{FF2B5EF4-FFF2-40B4-BE49-F238E27FC236}">
                <a16:creationId xmlns:a16="http://schemas.microsoft.com/office/drawing/2014/main" id="{AC63036E-E041-EC00-2575-08684FB53BC8}"/>
              </a:ext>
              <a:ext uri="{C183D7F6-B498-43B3-948B-1728B52AA6E4}">
                <adec:decorative xmlns:adec="http://schemas.microsoft.com/office/drawing/2017/decorative" val="1"/>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2911429" y="3722467"/>
            <a:ext cx="208115" cy="208115"/>
          </a:xfrm>
          <a:prstGeom prst="rect">
            <a:avLst/>
          </a:prstGeom>
        </p:spPr>
      </p:pic>
      <p:pic>
        <p:nvPicPr>
          <p:cNvPr id="59" name="Graphic 58">
            <a:extLst>
              <a:ext uri="{FF2B5EF4-FFF2-40B4-BE49-F238E27FC236}">
                <a16:creationId xmlns:a16="http://schemas.microsoft.com/office/drawing/2014/main" id="{69D7153E-D9EF-8578-4066-2690C11C5038}"/>
              </a:ext>
              <a:ext uri="{C183D7F6-B498-43B3-948B-1728B52AA6E4}">
                <adec:decorative xmlns:adec="http://schemas.microsoft.com/office/drawing/2017/decorative" val="1"/>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1836780" y="3722467"/>
            <a:ext cx="208115" cy="208115"/>
          </a:xfrm>
          <a:prstGeom prst="rect">
            <a:avLst/>
          </a:prstGeom>
        </p:spPr>
      </p:pic>
      <p:pic>
        <p:nvPicPr>
          <p:cNvPr id="60" name="Graphic 59">
            <a:extLst>
              <a:ext uri="{FF2B5EF4-FFF2-40B4-BE49-F238E27FC236}">
                <a16:creationId xmlns:a16="http://schemas.microsoft.com/office/drawing/2014/main" id="{64BF13D3-8FFC-B742-1B87-A0C03332A390}"/>
              </a:ext>
              <a:ext uri="{C183D7F6-B498-43B3-948B-1728B52AA6E4}">
                <adec:decorative xmlns:adec="http://schemas.microsoft.com/office/drawing/2017/decorative" val="1"/>
              </a:ext>
            </a:extLst>
          </p:cNvPr>
          <p:cNvPicPr>
            <a:picLocks noChangeAspect="1"/>
          </p:cNvPicPr>
          <p:nvPr/>
        </p:nvPicPr>
        <p:blipFill rotWithShape="1">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rcRect r="75258"/>
          <a:stretch/>
        </p:blipFill>
        <p:spPr>
          <a:xfrm>
            <a:off x="10446029" y="4454247"/>
            <a:ext cx="192106" cy="208115"/>
          </a:xfrm>
          <a:prstGeom prst="rect">
            <a:avLst/>
          </a:prstGeom>
        </p:spPr>
      </p:pic>
      <p:pic>
        <p:nvPicPr>
          <p:cNvPr id="61" name="Graphic 60">
            <a:extLst>
              <a:ext uri="{FF2B5EF4-FFF2-40B4-BE49-F238E27FC236}">
                <a16:creationId xmlns:a16="http://schemas.microsoft.com/office/drawing/2014/main" id="{BFBFA0E8-A200-A364-DAF8-3CAD1CDB22F5}"/>
              </a:ext>
              <a:ext uri="{C183D7F6-B498-43B3-948B-1728B52AA6E4}">
                <adec:decorative xmlns:adec="http://schemas.microsoft.com/office/drawing/2017/decorative" val="1"/>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8306787" y="3378691"/>
            <a:ext cx="163888" cy="163888"/>
          </a:xfrm>
          <a:prstGeom prst="rect">
            <a:avLst/>
          </a:prstGeom>
        </p:spPr>
      </p:pic>
      <p:pic>
        <p:nvPicPr>
          <p:cNvPr id="62" name="Graphic 61">
            <a:extLst>
              <a:ext uri="{FF2B5EF4-FFF2-40B4-BE49-F238E27FC236}">
                <a16:creationId xmlns:a16="http://schemas.microsoft.com/office/drawing/2014/main" id="{503F11DE-0E2D-6D2F-FBD0-B6A51C6C199F}"/>
              </a:ext>
              <a:ext uri="{C183D7F6-B498-43B3-948B-1728B52AA6E4}">
                <adec:decorative xmlns:adec="http://schemas.microsoft.com/office/drawing/2017/decorative" val="1"/>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8424213" y="5927361"/>
            <a:ext cx="190884" cy="190884"/>
          </a:xfrm>
          <a:prstGeom prst="rect">
            <a:avLst/>
          </a:prstGeom>
        </p:spPr>
      </p:pic>
      <p:pic>
        <p:nvPicPr>
          <p:cNvPr id="63" name="Graphic 62">
            <a:extLst>
              <a:ext uri="{FF2B5EF4-FFF2-40B4-BE49-F238E27FC236}">
                <a16:creationId xmlns:a16="http://schemas.microsoft.com/office/drawing/2014/main" id="{CF36D9B0-80F9-2B45-B066-6B9429902B2B}"/>
              </a:ext>
              <a:ext uri="{C183D7F6-B498-43B3-948B-1728B52AA6E4}">
                <adec:decorative xmlns:adec="http://schemas.microsoft.com/office/drawing/2017/decorative" val="1"/>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7207530" y="3339829"/>
            <a:ext cx="213104" cy="241613"/>
          </a:xfrm>
          <a:prstGeom prst="rect">
            <a:avLst/>
          </a:prstGeom>
        </p:spPr>
      </p:pic>
      <p:grpSp>
        <p:nvGrpSpPr>
          <p:cNvPr id="64" name="Group 63">
            <a:extLst>
              <a:ext uri="{FF2B5EF4-FFF2-40B4-BE49-F238E27FC236}">
                <a16:creationId xmlns:a16="http://schemas.microsoft.com/office/drawing/2014/main" id="{13BF0CE8-11BE-625A-3BCF-0A23F219073C}"/>
              </a:ext>
              <a:ext uri="{C183D7F6-B498-43B3-948B-1728B52AA6E4}">
                <adec:decorative xmlns:adec="http://schemas.microsoft.com/office/drawing/2017/decorative" val="1"/>
              </a:ext>
            </a:extLst>
          </p:cNvPr>
          <p:cNvGrpSpPr/>
          <p:nvPr/>
        </p:nvGrpSpPr>
        <p:grpSpPr>
          <a:xfrm>
            <a:off x="8284674" y="4098920"/>
            <a:ext cx="208115" cy="211996"/>
            <a:chOff x="7113152" y="3698344"/>
            <a:chExt cx="627228" cy="622385"/>
          </a:xfrm>
          <a:effectLst/>
        </p:grpSpPr>
        <p:sp>
          <p:nvSpPr>
            <p:cNvPr id="65" name="Freeform: Shape 64">
              <a:extLst>
                <a:ext uri="{FF2B5EF4-FFF2-40B4-BE49-F238E27FC236}">
                  <a16:creationId xmlns:a16="http://schemas.microsoft.com/office/drawing/2014/main" id="{40FA6180-2A2B-73C8-D652-7CB3D70E7907}"/>
                </a:ext>
              </a:extLst>
            </p:cNvPr>
            <p:cNvSpPr/>
            <p:nvPr/>
          </p:nvSpPr>
          <p:spPr>
            <a:xfrm>
              <a:off x="7113152" y="3698344"/>
              <a:ext cx="627228" cy="622385"/>
            </a:xfrm>
            <a:custGeom>
              <a:avLst/>
              <a:gdLst>
                <a:gd name="connsiteX0" fmla="*/ 12720 w 627228"/>
                <a:gd name="connsiteY0" fmla="*/ 108283 h 622385"/>
                <a:gd name="connsiteX1" fmla="*/ 103 w 627228"/>
                <a:gd name="connsiteY1" fmla="*/ 95811 h 622385"/>
                <a:gd name="connsiteX2" fmla="*/ 103 w 627228"/>
                <a:gd name="connsiteY2" fmla="*/ 95811 h 622385"/>
                <a:gd name="connsiteX3" fmla="*/ 103 w 627228"/>
                <a:gd name="connsiteY3" fmla="*/ 12285 h 622385"/>
                <a:gd name="connsiteX4" fmla="*/ 12720 w 627228"/>
                <a:gd name="connsiteY4" fmla="*/ -211 h 622385"/>
                <a:gd name="connsiteX5" fmla="*/ 91693 w 627228"/>
                <a:gd name="connsiteY5" fmla="*/ -211 h 622385"/>
                <a:gd name="connsiteX6" fmla="*/ 104310 w 627228"/>
                <a:gd name="connsiteY6" fmla="*/ 12285 h 622385"/>
                <a:gd name="connsiteX7" fmla="*/ 91693 w 627228"/>
                <a:gd name="connsiteY7" fmla="*/ 24757 h 622385"/>
                <a:gd name="connsiteX8" fmla="*/ 25337 w 627228"/>
                <a:gd name="connsiteY8" fmla="*/ 24757 h 622385"/>
                <a:gd name="connsiteX9" fmla="*/ 25337 w 627228"/>
                <a:gd name="connsiteY9" fmla="*/ 95738 h 622385"/>
                <a:gd name="connsiteX10" fmla="*/ 12769 w 627228"/>
                <a:gd name="connsiteY10" fmla="*/ 108259 h 622385"/>
                <a:gd name="connsiteX11" fmla="*/ 12720 w 627228"/>
                <a:gd name="connsiteY11" fmla="*/ 108259 h 622385"/>
                <a:gd name="connsiteX12" fmla="*/ 627332 w 627228"/>
                <a:gd name="connsiteY12" fmla="*/ 95811 h 622385"/>
                <a:gd name="connsiteX13" fmla="*/ 627332 w 627228"/>
                <a:gd name="connsiteY13" fmla="*/ 12285 h 622385"/>
                <a:gd name="connsiteX14" fmla="*/ 614739 w 627228"/>
                <a:gd name="connsiteY14" fmla="*/ -211 h 622385"/>
                <a:gd name="connsiteX15" fmla="*/ 535766 w 627228"/>
                <a:gd name="connsiteY15" fmla="*/ -211 h 622385"/>
                <a:gd name="connsiteX16" fmla="*/ 523149 w 627228"/>
                <a:gd name="connsiteY16" fmla="*/ 12285 h 622385"/>
                <a:gd name="connsiteX17" fmla="*/ 535766 w 627228"/>
                <a:gd name="connsiteY17" fmla="*/ 24757 h 622385"/>
                <a:gd name="connsiteX18" fmla="*/ 602122 w 627228"/>
                <a:gd name="connsiteY18" fmla="*/ 24757 h 622385"/>
                <a:gd name="connsiteX19" fmla="*/ 602122 w 627228"/>
                <a:gd name="connsiteY19" fmla="*/ 95738 h 622385"/>
                <a:gd name="connsiteX20" fmla="*/ 614739 w 627228"/>
                <a:gd name="connsiteY20" fmla="*/ 108210 h 622385"/>
                <a:gd name="connsiteX21" fmla="*/ 627332 w 627228"/>
                <a:gd name="connsiteY21" fmla="*/ 95738 h 622385"/>
                <a:gd name="connsiteX22" fmla="*/ 627332 w 627228"/>
                <a:gd name="connsiteY22" fmla="*/ 95738 h 622385"/>
                <a:gd name="connsiteX23" fmla="*/ 104310 w 627228"/>
                <a:gd name="connsiteY23" fmla="*/ 609654 h 622385"/>
                <a:gd name="connsiteX24" fmla="*/ 91693 w 627228"/>
                <a:gd name="connsiteY24" fmla="*/ 597182 h 622385"/>
                <a:gd name="connsiteX25" fmla="*/ 25337 w 627228"/>
                <a:gd name="connsiteY25" fmla="*/ 597182 h 622385"/>
                <a:gd name="connsiteX26" fmla="*/ 25337 w 627228"/>
                <a:gd name="connsiteY26" fmla="*/ 526201 h 622385"/>
                <a:gd name="connsiteX27" fmla="*/ 12720 w 627228"/>
                <a:gd name="connsiteY27" fmla="*/ 513705 h 622385"/>
                <a:gd name="connsiteX28" fmla="*/ 103 w 627228"/>
                <a:gd name="connsiteY28" fmla="*/ 526201 h 622385"/>
                <a:gd name="connsiteX29" fmla="*/ 103 w 627228"/>
                <a:gd name="connsiteY29" fmla="*/ 609703 h 622385"/>
                <a:gd name="connsiteX30" fmla="*/ 12720 w 627228"/>
                <a:gd name="connsiteY30" fmla="*/ 622150 h 622385"/>
                <a:gd name="connsiteX31" fmla="*/ 91693 w 627228"/>
                <a:gd name="connsiteY31" fmla="*/ 622150 h 622385"/>
                <a:gd name="connsiteX32" fmla="*/ 104310 w 627228"/>
                <a:gd name="connsiteY32" fmla="*/ 609654 h 622385"/>
                <a:gd name="connsiteX33" fmla="*/ 627332 w 627228"/>
                <a:gd name="connsiteY33" fmla="*/ 609703 h 622385"/>
                <a:gd name="connsiteX34" fmla="*/ 627332 w 627228"/>
                <a:gd name="connsiteY34" fmla="*/ 526201 h 622385"/>
                <a:gd name="connsiteX35" fmla="*/ 614739 w 627228"/>
                <a:gd name="connsiteY35" fmla="*/ 513705 h 622385"/>
                <a:gd name="connsiteX36" fmla="*/ 602122 w 627228"/>
                <a:gd name="connsiteY36" fmla="*/ 526201 h 622385"/>
                <a:gd name="connsiteX37" fmla="*/ 602122 w 627228"/>
                <a:gd name="connsiteY37" fmla="*/ 597182 h 622385"/>
                <a:gd name="connsiteX38" fmla="*/ 535766 w 627228"/>
                <a:gd name="connsiteY38" fmla="*/ 597182 h 622385"/>
                <a:gd name="connsiteX39" fmla="*/ 523149 w 627228"/>
                <a:gd name="connsiteY39" fmla="*/ 609703 h 622385"/>
                <a:gd name="connsiteX40" fmla="*/ 535766 w 627228"/>
                <a:gd name="connsiteY40" fmla="*/ 622175 h 622385"/>
                <a:gd name="connsiteX41" fmla="*/ 614739 w 627228"/>
                <a:gd name="connsiteY41" fmla="*/ 622175 h 622385"/>
                <a:gd name="connsiteX42" fmla="*/ 627332 w 627228"/>
                <a:gd name="connsiteY42" fmla="*/ 609727 h 62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27228" h="622385">
                  <a:moveTo>
                    <a:pt x="12720" y="108283"/>
                  </a:moveTo>
                  <a:cubicBezTo>
                    <a:pt x="5770" y="108283"/>
                    <a:pt x="103" y="102688"/>
                    <a:pt x="103" y="95811"/>
                  </a:cubicBezTo>
                  <a:lnTo>
                    <a:pt x="103" y="95811"/>
                  </a:lnTo>
                  <a:lnTo>
                    <a:pt x="103" y="12285"/>
                  </a:lnTo>
                  <a:cubicBezTo>
                    <a:pt x="103" y="5383"/>
                    <a:pt x="5770" y="-211"/>
                    <a:pt x="12720" y="-211"/>
                  </a:cubicBezTo>
                  <a:lnTo>
                    <a:pt x="91693" y="-211"/>
                  </a:lnTo>
                  <a:cubicBezTo>
                    <a:pt x="98667" y="-211"/>
                    <a:pt x="104310" y="5383"/>
                    <a:pt x="104310" y="12285"/>
                  </a:cubicBezTo>
                  <a:cubicBezTo>
                    <a:pt x="104310" y="19163"/>
                    <a:pt x="98667" y="24757"/>
                    <a:pt x="91693" y="24757"/>
                  </a:cubicBezTo>
                  <a:lnTo>
                    <a:pt x="25337" y="24757"/>
                  </a:lnTo>
                  <a:lnTo>
                    <a:pt x="25337" y="95738"/>
                  </a:lnTo>
                  <a:cubicBezTo>
                    <a:pt x="25337" y="102616"/>
                    <a:pt x="19744" y="108259"/>
                    <a:pt x="12769" y="108259"/>
                  </a:cubicBezTo>
                  <a:cubicBezTo>
                    <a:pt x="12769" y="108259"/>
                    <a:pt x="12769" y="108259"/>
                    <a:pt x="12720" y="108259"/>
                  </a:cubicBezTo>
                  <a:close/>
                  <a:moveTo>
                    <a:pt x="627332" y="95811"/>
                  </a:moveTo>
                  <a:lnTo>
                    <a:pt x="627332" y="12285"/>
                  </a:lnTo>
                  <a:cubicBezTo>
                    <a:pt x="627332" y="5383"/>
                    <a:pt x="621689" y="-211"/>
                    <a:pt x="614739" y="-211"/>
                  </a:cubicBezTo>
                  <a:lnTo>
                    <a:pt x="535766" y="-211"/>
                  </a:lnTo>
                  <a:cubicBezTo>
                    <a:pt x="528792" y="-211"/>
                    <a:pt x="523149" y="5383"/>
                    <a:pt x="523149" y="12285"/>
                  </a:cubicBezTo>
                  <a:cubicBezTo>
                    <a:pt x="523149" y="19163"/>
                    <a:pt x="528792" y="24757"/>
                    <a:pt x="535766" y="24757"/>
                  </a:cubicBezTo>
                  <a:lnTo>
                    <a:pt x="602122" y="24757"/>
                  </a:lnTo>
                  <a:lnTo>
                    <a:pt x="602122" y="95738"/>
                  </a:lnTo>
                  <a:cubicBezTo>
                    <a:pt x="602122" y="102616"/>
                    <a:pt x="607764" y="108210"/>
                    <a:pt x="614739" y="108210"/>
                  </a:cubicBezTo>
                  <a:cubicBezTo>
                    <a:pt x="621689" y="108210"/>
                    <a:pt x="627308" y="102616"/>
                    <a:pt x="627332" y="95738"/>
                  </a:cubicBezTo>
                  <a:lnTo>
                    <a:pt x="627332" y="95738"/>
                  </a:lnTo>
                  <a:close/>
                  <a:moveTo>
                    <a:pt x="104310" y="609654"/>
                  </a:moveTo>
                  <a:cubicBezTo>
                    <a:pt x="104310" y="602776"/>
                    <a:pt x="98667" y="597182"/>
                    <a:pt x="91693" y="597182"/>
                  </a:cubicBezTo>
                  <a:lnTo>
                    <a:pt x="25337" y="597182"/>
                  </a:lnTo>
                  <a:lnTo>
                    <a:pt x="25337" y="526201"/>
                  </a:lnTo>
                  <a:cubicBezTo>
                    <a:pt x="25337" y="519324"/>
                    <a:pt x="19695" y="513705"/>
                    <a:pt x="12720" y="513705"/>
                  </a:cubicBezTo>
                  <a:cubicBezTo>
                    <a:pt x="5770" y="513705"/>
                    <a:pt x="103" y="519324"/>
                    <a:pt x="103" y="526201"/>
                  </a:cubicBezTo>
                  <a:lnTo>
                    <a:pt x="103" y="609703"/>
                  </a:lnTo>
                  <a:cubicBezTo>
                    <a:pt x="103" y="616580"/>
                    <a:pt x="5794" y="622150"/>
                    <a:pt x="12720" y="622150"/>
                  </a:cubicBezTo>
                  <a:lnTo>
                    <a:pt x="91693" y="622150"/>
                  </a:lnTo>
                  <a:cubicBezTo>
                    <a:pt x="98667" y="622150"/>
                    <a:pt x="104310" y="616532"/>
                    <a:pt x="104310" y="609654"/>
                  </a:cubicBezTo>
                  <a:close/>
                  <a:moveTo>
                    <a:pt x="627332" y="609703"/>
                  </a:moveTo>
                  <a:lnTo>
                    <a:pt x="627332" y="526201"/>
                  </a:lnTo>
                  <a:cubicBezTo>
                    <a:pt x="627332" y="519324"/>
                    <a:pt x="621689" y="513705"/>
                    <a:pt x="614739" y="513705"/>
                  </a:cubicBezTo>
                  <a:cubicBezTo>
                    <a:pt x="607764" y="513705"/>
                    <a:pt x="602146" y="519324"/>
                    <a:pt x="602122" y="526201"/>
                  </a:cubicBezTo>
                  <a:lnTo>
                    <a:pt x="602122" y="597182"/>
                  </a:lnTo>
                  <a:lnTo>
                    <a:pt x="535766" y="597182"/>
                  </a:lnTo>
                  <a:cubicBezTo>
                    <a:pt x="528792" y="597182"/>
                    <a:pt x="523149" y="602776"/>
                    <a:pt x="523149" y="609703"/>
                  </a:cubicBezTo>
                  <a:cubicBezTo>
                    <a:pt x="523149" y="616580"/>
                    <a:pt x="528792" y="622175"/>
                    <a:pt x="535766" y="622175"/>
                  </a:cubicBezTo>
                  <a:lnTo>
                    <a:pt x="614739" y="622175"/>
                  </a:lnTo>
                  <a:cubicBezTo>
                    <a:pt x="621665" y="622175"/>
                    <a:pt x="627308" y="616605"/>
                    <a:pt x="627332" y="609727"/>
                  </a:cubicBezTo>
                  <a:close/>
                </a:path>
              </a:pathLst>
            </a:custGeom>
            <a:solidFill>
              <a:srgbClr val="76BC2D"/>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66" name="Freeform: Shape 65">
              <a:extLst>
                <a:ext uri="{FF2B5EF4-FFF2-40B4-BE49-F238E27FC236}">
                  <a16:creationId xmlns:a16="http://schemas.microsoft.com/office/drawing/2014/main" id="{178597F7-50F7-4EA9-D7A7-5B5B3B66E561}"/>
                </a:ext>
              </a:extLst>
            </p:cNvPr>
            <p:cNvSpPr/>
            <p:nvPr/>
          </p:nvSpPr>
          <p:spPr>
            <a:xfrm>
              <a:off x="7185804" y="3744357"/>
              <a:ext cx="409272" cy="496461"/>
            </a:xfrm>
            <a:custGeom>
              <a:avLst/>
              <a:gdLst>
                <a:gd name="connsiteX0" fmla="*/ 409352 w 409272"/>
                <a:gd name="connsiteY0" fmla="*/ 232615 h 496461"/>
                <a:gd name="connsiteX1" fmla="*/ 212925 w 409272"/>
                <a:gd name="connsiteY1" fmla="*/ 494525 h 496461"/>
                <a:gd name="connsiteX2" fmla="*/ 199460 w 409272"/>
                <a:gd name="connsiteY2" fmla="*/ 494525 h 496461"/>
                <a:gd name="connsiteX3" fmla="*/ 103 w 409272"/>
                <a:gd name="connsiteY3" fmla="*/ 232615 h 496461"/>
                <a:gd name="connsiteX4" fmla="*/ 103 w 409272"/>
                <a:gd name="connsiteY4" fmla="*/ 70794 h 496461"/>
                <a:gd name="connsiteX5" fmla="*/ 12381 w 409272"/>
                <a:gd name="connsiteY5" fmla="*/ 57983 h 496461"/>
                <a:gd name="connsiteX6" fmla="*/ 203577 w 409272"/>
                <a:gd name="connsiteY6" fmla="*/ -211 h 496461"/>
                <a:gd name="connsiteX7" fmla="*/ 394192 w 409272"/>
                <a:gd name="connsiteY7" fmla="*/ 57983 h 496461"/>
                <a:gd name="connsiteX8" fmla="*/ 406470 w 409272"/>
                <a:gd name="connsiteY8" fmla="*/ 70794 h 496461"/>
                <a:gd name="connsiteX9" fmla="*/ 409376 w 409272"/>
                <a:gd name="connsiteY9" fmla="*/ 232590 h 49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272" h="496461">
                  <a:moveTo>
                    <a:pt x="409352" y="232615"/>
                  </a:moveTo>
                  <a:cubicBezTo>
                    <a:pt x="409352" y="365301"/>
                    <a:pt x="247992" y="472415"/>
                    <a:pt x="212925" y="494525"/>
                  </a:cubicBezTo>
                  <a:cubicBezTo>
                    <a:pt x="208735" y="496826"/>
                    <a:pt x="203698" y="496826"/>
                    <a:pt x="199460" y="494525"/>
                  </a:cubicBezTo>
                  <a:cubicBezTo>
                    <a:pt x="162044" y="470671"/>
                    <a:pt x="103" y="363582"/>
                    <a:pt x="103" y="232615"/>
                  </a:cubicBezTo>
                  <a:lnTo>
                    <a:pt x="103" y="70794"/>
                  </a:lnTo>
                  <a:cubicBezTo>
                    <a:pt x="103" y="63965"/>
                    <a:pt x="5528" y="58298"/>
                    <a:pt x="12381" y="57983"/>
                  </a:cubicBezTo>
                  <a:cubicBezTo>
                    <a:pt x="138093" y="54472"/>
                    <a:pt x="109444" y="-211"/>
                    <a:pt x="203577" y="-211"/>
                  </a:cubicBezTo>
                  <a:cubicBezTo>
                    <a:pt x="297710" y="-211"/>
                    <a:pt x="268480" y="54520"/>
                    <a:pt x="394192" y="57983"/>
                  </a:cubicBezTo>
                  <a:cubicBezTo>
                    <a:pt x="401045" y="58298"/>
                    <a:pt x="406470" y="63916"/>
                    <a:pt x="406470" y="70794"/>
                  </a:cubicBezTo>
                  <a:lnTo>
                    <a:pt x="409376" y="232590"/>
                  </a:lnTo>
                  <a:close/>
                </a:path>
              </a:pathLst>
            </a:custGeom>
            <a:solidFill>
              <a:srgbClr val="0078D4"/>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67" name="Freeform: Shape 66">
              <a:extLst>
                <a:ext uri="{FF2B5EF4-FFF2-40B4-BE49-F238E27FC236}">
                  <a16:creationId xmlns:a16="http://schemas.microsoft.com/office/drawing/2014/main" id="{F9FC8279-4486-6C34-9852-D7EC1988B19C}"/>
                </a:ext>
              </a:extLst>
            </p:cNvPr>
            <p:cNvSpPr/>
            <p:nvPr/>
          </p:nvSpPr>
          <p:spPr>
            <a:xfrm>
              <a:off x="7212443" y="3770996"/>
              <a:ext cx="358416" cy="443177"/>
            </a:xfrm>
            <a:custGeom>
              <a:avLst/>
              <a:gdLst>
                <a:gd name="connsiteX0" fmla="*/ 180812 w 358416"/>
                <a:gd name="connsiteY0" fmla="*/ 442966 h 443177"/>
                <a:gd name="connsiteX1" fmla="*/ 103 w 358416"/>
                <a:gd name="connsiteY1" fmla="*/ 207089 h 443177"/>
                <a:gd name="connsiteX2" fmla="*/ 103 w 358416"/>
                <a:gd name="connsiteY2" fmla="*/ 57305 h 443177"/>
                <a:gd name="connsiteX3" fmla="*/ 112689 w 358416"/>
                <a:gd name="connsiteY3" fmla="*/ 20349 h 443177"/>
                <a:gd name="connsiteX4" fmla="*/ 178125 w 358416"/>
                <a:gd name="connsiteY4" fmla="*/ -211 h 443177"/>
                <a:gd name="connsiteX5" fmla="*/ 243269 w 358416"/>
                <a:gd name="connsiteY5" fmla="*/ 20325 h 443177"/>
                <a:gd name="connsiteX6" fmla="*/ 355807 w 358416"/>
                <a:gd name="connsiteY6" fmla="*/ 57305 h 443177"/>
                <a:gd name="connsiteX7" fmla="*/ 358520 w 358416"/>
                <a:gd name="connsiteY7" fmla="*/ 207501 h 443177"/>
                <a:gd name="connsiteX8" fmla="*/ 180789 w 358416"/>
                <a:gd name="connsiteY8" fmla="*/ 442966 h 4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416" h="443177">
                  <a:moveTo>
                    <a:pt x="180812" y="442966"/>
                  </a:moveTo>
                  <a:cubicBezTo>
                    <a:pt x="17879" y="336943"/>
                    <a:pt x="103" y="242907"/>
                    <a:pt x="103" y="207089"/>
                  </a:cubicBezTo>
                  <a:lnTo>
                    <a:pt x="103" y="57305"/>
                  </a:lnTo>
                  <a:cubicBezTo>
                    <a:pt x="65272" y="53648"/>
                    <a:pt x="91426" y="35267"/>
                    <a:pt x="112689" y="20349"/>
                  </a:cubicBezTo>
                  <a:cubicBezTo>
                    <a:pt x="129714" y="8411"/>
                    <a:pt x="142017" y="-211"/>
                    <a:pt x="178125" y="-211"/>
                  </a:cubicBezTo>
                  <a:cubicBezTo>
                    <a:pt x="214257" y="-211"/>
                    <a:pt x="226390" y="8411"/>
                    <a:pt x="243269" y="20325"/>
                  </a:cubicBezTo>
                  <a:cubicBezTo>
                    <a:pt x="264387" y="35219"/>
                    <a:pt x="290396" y="53600"/>
                    <a:pt x="355807" y="57305"/>
                  </a:cubicBezTo>
                  <a:lnTo>
                    <a:pt x="358520" y="207501"/>
                  </a:lnTo>
                  <a:cubicBezTo>
                    <a:pt x="358520" y="235787"/>
                    <a:pt x="345587" y="336701"/>
                    <a:pt x="180789" y="442966"/>
                  </a:cubicBezTo>
                  <a:close/>
                </a:path>
              </a:pathLst>
            </a:custGeom>
            <a:gradFill>
              <a:gsLst>
                <a:gs pos="0">
                  <a:srgbClr val="0078D4"/>
                </a:gs>
                <a:gs pos="82000">
                  <a:srgbClr val="5EA0EF"/>
                </a:gs>
                <a:gs pos="100000">
                  <a:srgbClr val="5EA0EF"/>
                </a:gs>
              </a:gsLst>
              <a:lin ang="16200000" scaled="1"/>
            </a:gra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68" name="Freeform: Shape 67">
              <a:extLst>
                <a:ext uri="{FF2B5EF4-FFF2-40B4-BE49-F238E27FC236}">
                  <a16:creationId xmlns:a16="http://schemas.microsoft.com/office/drawing/2014/main" id="{4C7C83BB-4D65-59D3-6662-04A5164639B7}"/>
                </a:ext>
              </a:extLst>
            </p:cNvPr>
            <p:cNvSpPr/>
            <p:nvPr/>
          </p:nvSpPr>
          <p:spPr>
            <a:xfrm>
              <a:off x="7396519" y="3848492"/>
              <a:ext cx="130773" cy="24217"/>
            </a:xfrm>
            <a:custGeom>
              <a:avLst/>
              <a:gdLst>
                <a:gd name="connsiteX0" fmla="*/ 125912 w 130773"/>
                <a:gd name="connsiteY0" fmla="*/ -211 h 24217"/>
                <a:gd name="connsiteX1" fmla="*/ 130877 w 130773"/>
                <a:gd name="connsiteY1" fmla="*/ 4754 h 24217"/>
                <a:gd name="connsiteX2" fmla="*/ 130877 w 130773"/>
                <a:gd name="connsiteY2" fmla="*/ 19066 h 24217"/>
                <a:gd name="connsiteX3" fmla="*/ 125912 w 130773"/>
                <a:gd name="connsiteY3" fmla="*/ 24006 h 24217"/>
                <a:gd name="connsiteX4" fmla="*/ 5043 w 130773"/>
                <a:gd name="connsiteY4" fmla="*/ 24006 h 24217"/>
                <a:gd name="connsiteX5" fmla="*/ 103 w 130773"/>
                <a:gd name="connsiteY5" fmla="*/ 19066 h 24217"/>
                <a:gd name="connsiteX6" fmla="*/ 103 w 130773"/>
                <a:gd name="connsiteY6" fmla="*/ 4754 h 24217"/>
                <a:gd name="connsiteX7" fmla="*/ 5043 w 130773"/>
                <a:gd name="connsiteY7" fmla="*/ -211 h 2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773" h="24217">
                  <a:moveTo>
                    <a:pt x="125912" y="-211"/>
                  </a:moveTo>
                  <a:cubicBezTo>
                    <a:pt x="128649" y="-211"/>
                    <a:pt x="130877" y="2017"/>
                    <a:pt x="130877" y="4754"/>
                  </a:cubicBezTo>
                  <a:lnTo>
                    <a:pt x="130877" y="19066"/>
                  </a:lnTo>
                  <a:cubicBezTo>
                    <a:pt x="130877" y="21803"/>
                    <a:pt x="128649" y="24006"/>
                    <a:pt x="125912" y="24006"/>
                  </a:cubicBezTo>
                  <a:lnTo>
                    <a:pt x="5043" y="24006"/>
                  </a:lnTo>
                  <a:cubicBezTo>
                    <a:pt x="2331" y="24006"/>
                    <a:pt x="103" y="21803"/>
                    <a:pt x="103" y="19066"/>
                  </a:cubicBezTo>
                  <a:lnTo>
                    <a:pt x="103" y="4754"/>
                  </a:lnTo>
                  <a:cubicBezTo>
                    <a:pt x="103" y="2017"/>
                    <a:pt x="2331" y="-211"/>
                    <a:pt x="5043" y="-211"/>
                  </a:cubicBezTo>
                  <a:close/>
                </a:path>
              </a:pathLst>
            </a:custGeom>
            <a:solidFill>
              <a:srgbClr val="FFFFFF">
                <a:alpha val="70000"/>
              </a:srgbClr>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69" name="Freeform: Shape 68">
              <a:extLst>
                <a:ext uri="{FF2B5EF4-FFF2-40B4-BE49-F238E27FC236}">
                  <a16:creationId xmlns:a16="http://schemas.microsoft.com/office/drawing/2014/main" id="{1A1BED24-D328-8509-4881-503137A6BEAC}"/>
                </a:ext>
              </a:extLst>
            </p:cNvPr>
            <p:cNvSpPr/>
            <p:nvPr/>
          </p:nvSpPr>
          <p:spPr>
            <a:xfrm>
              <a:off x="7396519" y="3896926"/>
              <a:ext cx="130773" cy="24217"/>
            </a:xfrm>
            <a:custGeom>
              <a:avLst/>
              <a:gdLst>
                <a:gd name="connsiteX0" fmla="*/ 125912 w 130773"/>
                <a:gd name="connsiteY0" fmla="*/ -211 h 24217"/>
                <a:gd name="connsiteX1" fmla="*/ 130877 w 130773"/>
                <a:gd name="connsiteY1" fmla="*/ 4729 h 24217"/>
                <a:gd name="connsiteX2" fmla="*/ 130877 w 130773"/>
                <a:gd name="connsiteY2" fmla="*/ 19066 h 24217"/>
                <a:gd name="connsiteX3" fmla="*/ 125912 w 130773"/>
                <a:gd name="connsiteY3" fmla="*/ 24006 h 24217"/>
                <a:gd name="connsiteX4" fmla="*/ 5043 w 130773"/>
                <a:gd name="connsiteY4" fmla="*/ 24006 h 24217"/>
                <a:gd name="connsiteX5" fmla="*/ 103 w 130773"/>
                <a:gd name="connsiteY5" fmla="*/ 19066 h 24217"/>
                <a:gd name="connsiteX6" fmla="*/ 103 w 130773"/>
                <a:gd name="connsiteY6" fmla="*/ 4729 h 24217"/>
                <a:gd name="connsiteX7" fmla="*/ 5043 w 130773"/>
                <a:gd name="connsiteY7" fmla="*/ -211 h 2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773" h="24217">
                  <a:moveTo>
                    <a:pt x="125912" y="-211"/>
                  </a:moveTo>
                  <a:cubicBezTo>
                    <a:pt x="128649" y="-211"/>
                    <a:pt x="130877" y="2017"/>
                    <a:pt x="130877" y="4729"/>
                  </a:cubicBezTo>
                  <a:lnTo>
                    <a:pt x="130877" y="19066"/>
                  </a:lnTo>
                  <a:cubicBezTo>
                    <a:pt x="130877" y="21803"/>
                    <a:pt x="128649" y="24006"/>
                    <a:pt x="125912" y="24006"/>
                  </a:cubicBezTo>
                  <a:lnTo>
                    <a:pt x="5043" y="24006"/>
                  </a:lnTo>
                  <a:cubicBezTo>
                    <a:pt x="2331" y="24006"/>
                    <a:pt x="103" y="21803"/>
                    <a:pt x="103" y="19066"/>
                  </a:cubicBezTo>
                  <a:lnTo>
                    <a:pt x="103" y="4729"/>
                  </a:lnTo>
                  <a:cubicBezTo>
                    <a:pt x="103" y="2017"/>
                    <a:pt x="2331" y="-211"/>
                    <a:pt x="5043" y="-211"/>
                  </a:cubicBezTo>
                  <a:close/>
                </a:path>
              </a:pathLst>
            </a:custGeom>
            <a:solidFill>
              <a:srgbClr val="FFFFFF">
                <a:alpha val="60000"/>
              </a:srgbClr>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0" name="Freeform: Shape 69">
              <a:extLst>
                <a:ext uri="{FF2B5EF4-FFF2-40B4-BE49-F238E27FC236}">
                  <a16:creationId xmlns:a16="http://schemas.microsoft.com/office/drawing/2014/main" id="{8B6F7EA6-1F52-8CA1-ACA3-CB3E87EF83D8}"/>
                </a:ext>
              </a:extLst>
            </p:cNvPr>
            <p:cNvSpPr/>
            <p:nvPr/>
          </p:nvSpPr>
          <p:spPr>
            <a:xfrm>
              <a:off x="7256034" y="4044652"/>
              <a:ext cx="154990" cy="24217"/>
            </a:xfrm>
            <a:custGeom>
              <a:avLst/>
              <a:gdLst>
                <a:gd name="connsiteX0" fmla="*/ 150202 w 154990"/>
                <a:gd name="connsiteY0" fmla="*/ -211 h 24217"/>
                <a:gd name="connsiteX1" fmla="*/ 155094 w 154990"/>
                <a:gd name="connsiteY1" fmla="*/ 4729 h 24217"/>
                <a:gd name="connsiteX2" fmla="*/ 155094 w 154990"/>
                <a:gd name="connsiteY2" fmla="*/ 19066 h 24217"/>
                <a:gd name="connsiteX3" fmla="*/ 150202 w 154990"/>
                <a:gd name="connsiteY3" fmla="*/ 24006 h 24217"/>
                <a:gd name="connsiteX4" fmla="*/ 4995 w 154990"/>
                <a:gd name="connsiteY4" fmla="*/ 24006 h 24217"/>
                <a:gd name="connsiteX5" fmla="*/ 103 w 154990"/>
                <a:gd name="connsiteY5" fmla="*/ 19066 h 24217"/>
                <a:gd name="connsiteX6" fmla="*/ 103 w 154990"/>
                <a:gd name="connsiteY6" fmla="*/ 4729 h 24217"/>
                <a:gd name="connsiteX7" fmla="*/ 4995 w 154990"/>
                <a:gd name="connsiteY7" fmla="*/ -211 h 2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90" h="24217">
                  <a:moveTo>
                    <a:pt x="150202" y="-211"/>
                  </a:moveTo>
                  <a:cubicBezTo>
                    <a:pt x="152915" y="-211"/>
                    <a:pt x="155094" y="2017"/>
                    <a:pt x="155094" y="4729"/>
                  </a:cubicBezTo>
                  <a:lnTo>
                    <a:pt x="155094" y="19066"/>
                  </a:lnTo>
                  <a:cubicBezTo>
                    <a:pt x="155094" y="21803"/>
                    <a:pt x="152915" y="24006"/>
                    <a:pt x="150202" y="24006"/>
                  </a:cubicBezTo>
                  <a:lnTo>
                    <a:pt x="4995" y="24006"/>
                  </a:lnTo>
                  <a:cubicBezTo>
                    <a:pt x="2307" y="24006"/>
                    <a:pt x="103" y="21803"/>
                    <a:pt x="103" y="19066"/>
                  </a:cubicBezTo>
                  <a:lnTo>
                    <a:pt x="103" y="4729"/>
                  </a:lnTo>
                  <a:cubicBezTo>
                    <a:pt x="103" y="2017"/>
                    <a:pt x="2307" y="-211"/>
                    <a:pt x="4995" y="-211"/>
                  </a:cubicBezTo>
                  <a:close/>
                </a:path>
              </a:pathLst>
            </a:custGeom>
            <a:solidFill>
              <a:srgbClr val="FFFFFF">
                <a:alpha val="30000"/>
              </a:srgbClr>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1" name="Freeform: Shape 70">
              <a:extLst>
                <a:ext uri="{FF2B5EF4-FFF2-40B4-BE49-F238E27FC236}">
                  <a16:creationId xmlns:a16="http://schemas.microsoft.com/office/drawing/2014/main" id="{61A3AB35-3AD2-BEED-D38B-BCF5F03AF880}"/>
                </a:ext>
              </a:extLst>
            </p:cNvPr>
            <p:cNvSpPr/>
            <p:nvPr/>
          </p:nvSpPr>
          <p:spPr>
            <a:xfrm>
              <a:off x="7256058" y="3996217"/>
              <a:ext cx="271234" cy="24217"/>
            </a:xfrm>
            <a:custGeom>
              <a:avLst/>
              <a:gdLst>
                <a:gd name="connsiteX0" fmla="*/ 266397 w 271234"/>
                <a:gd name="connsiteY0" fmla="*/ -211 h 24217"/>
                <a:gd name="connsiteX1" fmla="*/ 271337 w 271234"/>
                <a:gd name="connsiteY1" fmla="*/ 4729 h 24217"/>
                <a:gd name="connsiteX2" fmla="*/ 271337 w 271234"/>
                <a:gd name="connsiteY2" fmla="*/ 19066 h 24217"/>
                <a:gd name="connsiteX3" fmla="*/ 266397 w 271234"/>
                <a:gd name="connsiteY3" fmla="*/ 24006 h 24217"/>
                <a:gd name="connsiteX4" fmla="*/ 5019 w 271234"/>
                <a:gd name="connsiteY4" fmla="*/ 24006 h 24217"/>
                <a:gd name="connsiteX5" fmla="*/ 103 w 271234"/>
                <a:gd name="connsiteY5" fmla="*/ 19066 h 24217"/>
                <a:gd name="connsiteX6" fmla="*/ 103 w 271234"/>
                <a:gd name="connsiteY6" fmla="*/ 4729 h 24217"/>
                <a:gd name="connsiteX7" fmla="*/ 5019 w 271234"/>
                <a:gd name="connsiteY7" fmla="*/ -211 h 2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234" h="24217">
                  <a:moveTo>
                    <a:pt x="266397" y="-211"/>
                  </a:moveTo>
                  <a:cubicBezTo>
                    <a:pt x="269134" y="-211"/>
                    <a:pt x="271337" y="2017"/>
                    <a:pt x="271337" y="4729"/>
                  </a:cubicBezTo>
                  <a:lnTo>
                    <a:pt x="271337" y="19066"/>
                  </a:lnTo>
                  <a:cubicBezTo>
                    <a:pt x="271337" y="21803"/>
                    <a:pt x="269134" y="24006"/>
                    <a:pt x="266397" y="24006"/>
                  </a:cubicBezTo>
                  <a:lnTo>
                    <a:pt x="5019" y="24006"/>
                  </a:lnTo>
                  <a:cubicBezTo>
                    <a:pt x="2307" y="24006"/>
                    <a:pt x="103" y="21803"/>
                    <a:pt x="103" y="19066"/>
                  </a:cubicBezTo>
                  <a:lnTo>
                    <a:pt x="103" y="4729"/>
                  </a:lnTo>
                  <a:cubicBezTo>
                    <a:pt x="103" y="2017"/>
                    <a:pt x="2307" y="-211"/>
                    <a:pt x="5019" y="-211"/>
                  </a:cubicBezTo>
                  <a:close/>
                </a:path>
              </a:pathLst>
            </a:custGeom>
            <a:solidFill>
              <a:srgbClr val="FFFFFF">
                <a:alpha val="40000"/>
              </a:srgbClr>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2" name="Freeform: Shape 71">
              <a:extLst>
                <a:ext uri="{FF2B5EF4-FFF2-40B4-BE49-F238E27FC236}">
                  <a16:creationId xmlns:a16="http://schemas.microsoft.com/office/drawing/2014/main" id="{B100AA60-7550-8250-BFC4-B18DCCD4C498}"/>
                </a:ext>
              </a:extLst>
            </p:cNvPr>
            <p:cNvSpPr/>
            <p:nvPr/>
          </p:nvSpPr>
          <p:spPr>
            <a:xfrm>
              <a:off x="7256058" y="3945361"/>
              <a:ext cx="247016" cy="24217"/>
            </a:xfrm>
            <a:custGeom>
              <a:avLst/>
              <a:gdLst>
                <a:gd name="connsiteX0" fmla="*/ 242228 w 247016"/>
                <a:gd name="connsiteY0" fmla="*/ -211 h 24217"/>
                <a:gd name="connsiteX1" fmla="*/ 247120 w 247016"/>
                <a:gd name="connsiteY1" fmla="*/ 4705 h 24217"/>
                <a:gd name="connsiteX2" fmla="*/ 247120 w 247016"/>
                <a:gd name="connsiteY2" fmla="*/ 19114 h 24217"/>
                <a:gd name="connsiteX3" fmla="*/ 242228 w 247016"/>
                <a:gd name="connsiteY3" fmla="*/ 24006 h 24217"/>
                <a:gd name="connsiteX4" fmla="*/ 4971 w 247016"/>
                <a:gd name="connsiteY4" fmla="*/ 24006 h 24217"/>
                <a:gd name="connsiteX5" fmla="*/ 103 w 247016"/>
                <a:gd name="connsiteY5" fmla="*/ 19114 h 24217"/>
                <a:gd name="connsiteX6" fmla="*/ 103 w 247016"/>
                <a:gd name="connsiteY6" fmla="*/ 4705 h 24217"/>
                <a:gd name="connsiteX7" fmla="*/ 4971 w 247016"/>
                <a:gd name="connsiteY7" fmla="*/ -211 h 2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016" h="24217">
                  <a:moveTo>
                    <a:pt x="242228" y="-211"/>
                  </a:moveTo>
                  <a:cubicBezTo>
                    <a:pt x="244916" y="-211"/>
                    <a:pt x="247120" y="1993"/>
                    <a:pt x="247120" y="4705"/>
                  </a:cubicBezTo>
                  <a:lnTo>
                    <a:pt x="247120" y="19114"/>
                  </a:lnTo>
                  <a:cubicBezTo>
                    <a:pt x="247120" y="21827"/>
                    <a:pt x="244916" y="24006"/>
                    <a:pt x="242228" y="24006"/>
                  </a:cubicBezTo>
                  <a:lnTo>
                    <a:pt x="4971" y="24006"/>
                  </a:lnTo>
                  <a:cubicBezTo>
                    <a:pt x="2282" y="24006"/>
                    <a:pt x="103" y="21827"/>
                    <a:pt x="103" y="19114"/>
                  </a:cubicBezTo>
                  <a:lnTo>
                    <a:pt x="103" y="4705"/>
                  </a:lnTo>
                  <a:cubicBezTo>
                    <a:pt x="103" y="1993"/>
                    <a:pt x="2282" y="-211"/>
                    <a:pt x="4971" y="-211"/>
                  </a:cubicBezTo>
                  <a:close/>
                </a:path>
              </a:pathLst>
            </a:custGeom>
            <a:solidFill>
              <a:srgbClr val="FFFFFF">
                <a:alpha val="50000"/>
              </a:srgbClr>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3" name="Freeform: Shape 72">
              <a:extLst>
                <a:ext uri="{FF2B5EF4-FFF2-40B4-BE49-F238E27FC236}">
                  <a16:creationId xmlns:a16="http://schemas.microsoft.com/office/drawing/2014/main" id="{B5D2B74E-306C-1D15-B48F-D4862D368C3D}"/>
                </a:ext>
              </a:extLst>
            </p:cNvPr>
            <p:cNvSpPr/>
            <p:nvPr/>
          </p:nvSpPr>
          <p:spPr>
            <a:xfrm>
              <a:off x="7256058" y="3848492"/>
              <a:ext cx="123508" cy="72652"/>
            </a:xfrm>
            <a:custGeom>
              <a:avLst/>
              <a:gdLst>
                <a:gd name="connsiteX0" fmla="*/ 4244 w 123508"/>
                <a:gd name="connsiteY0" fmla="*/ -211 h 72652"/>
                <a:gd name="connsiteX1" fmla="*/ 119470 w 123508"/>
                <a:gd name="connsiteY1" fmla="*/ -211 h 72652"/>
                <a:gd name="connsiteX2" fmla="*/ 123611 w 123508"/>
                <a:gd name="connsiteY2" fmla="*/ 3301 h 72652"/>
                <a:gd name="connsiteX3" fmla="*/ 123611 w 123508"/>
                <a:gd name="connsiteY3" fmla="*/ 68930 h 72652"/>
                <a:gd name="connsiteX4" fmla="*/ 119470 w 123508"/>
                <a:gd name="connsiteY4" fmla="*/ 72441 h 72652"/>
                <a:gd name="connsiteX5" fmla="*/ 4244 w 123508"/>
                <a:gd name="connsiteY5" fmla="*/ 72441 h 72652"/>
                <a:gd name="connsiteX6" fmla="*/ 103 w 123508"/>
                <a:gd name="connsiteY6" fmla="*/ 68930 h 72652"/>
                <a:gd name="connsiteX7" fmla="*/ 103 w 123508"/>
                <a:gd name="connsiteY7" fmla="*/ 3301 h 72652"/>
                <a:gd name="connsiteX8" fmla="*/ 4244 w 123508"/>
                <a:gd name="connsiteY8" fmla="*/ -211 h 7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508" h="72652">
                  <a:moveTo>
                    <a:pt x="4244" y="-211"/>
                  </a:moveTo>
                  <a:lnTo>
                    <a:pt x="119470" y="-211"/>
                  </a:lnTo>
                  <a:cubicBezTo>
                    <a:pt x="121747" y="-211"/>
                    <a:pt x="123611" y="1387"/>
                    <a:pt x="123611" y="3301"/>
                  </a:cubicBezTo>
                  <a:lnTo>
                    <a:pt x="123611" y="68930"/>
                  </a:lnTo>
                  <a:cubicBezTo>
                    <a:pt x="123611" y="70891"/>
                    <a:pt x="121747" y="72441"/>
                    <a:pt x="119470" y="72441"/>
                  </a:cubicBezTo>
                  <a:lnTo>
                    <a:pt x="4244" y="72441"/>
                  </a:lnTo>
                  <a:cubicBezTo>
                    <a:pt x="1968" y="72441"/>
                    <a:pt x="103" y="70867"/>
                    <a:pt x="103" y="68930"/>
                  </a:cubicBezTo>
                  <a:lnTo>
                    <a:pt x="103" y="3301"/>
                  </a:lnTo>
                  <a:cubicBezTo>
                    <a:pt x="103" y="1339"/>
                    <a:pt x="1968" y="-211"/>
                    <a:pt x="4244" y="-211"/>
                  </a:cubicBezTo>
                  <a:close/>
                </a:path>
              </a:pathLst>
            </a:custGeom>
            <a:gradFill>
              <a:gsLst>
                <a:gs pos="0">
                  <a:srgbClr val="FFFFFF">
                    <a:alpha val="69412"/>
                  </a:srgbClr>
                </a:gs>
                <a:gs pos="50000">
                  <a:srgbClr val="FFFFFF">
                    <a:alpha val="64706"/>
                  </a:srgbClr>
                </a:gs>
                <a:gs pos="100000">
                  <a:srgbClr val="FFFFFF">
                    <a:alpha val="60000"/>
                  </a:srgbClr>
                </a:gs>
              </a:gsLst>
              <a:lin ang="5400000" scaled="1"/>
            </a:gra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4" name="Freeform: Shape 73">
              <a:extLst>
                <a:ext uri="{FF2B5EF4-FFF2-40B4-BE49-F238E27FC236}">
                  <a16:creationId xmlns:a16="http://schemas.microsoft.com/office/drawing/2014/main" id="{5A9783EB-843D-97BF-8E3B-B23E3EA8C88E}"/>
                </a:ext>
              </a:extLst>
            </p:cNvPr>
            <p:cNvSpPr/>
            <p:nvPr/>
          </p:nvSpPr>
          <p:spPr>
            <a:xfrm>
              <a:off x="7425555" y="4037387"/>
              <a:ext cx="239751" cy="237329"/>
            </a:xfrm>
            <a:custGeom>
              <a:avLst/>
              <a:gdLst>
                <a:gd name="connsiteX0" fmla="*/ 239855 w 239751"/>
                <a:gd name="connsiteY0" fmla="*/ 118454 h 237329"/>
                <a:gd name="connsiteX1" fmla="*/ 119979 w 239751"/>
                <a:gd name="connsiteY1" fmla="*/ 237119 h 237329"/>
                <a:gd name="connsiteX2" fmla="*/ 103 w 239751"/>
                <a:gd name="connsiteY2" fmla="*/ 118454 h 237329"/>
                <a:gd name="connsiteX3" fmla="*/ 119979 w 239751"/>
                <a:gd name="connsiteY3" fmla="*/ -211 h 237329"/>
                <a:gd name="connsiteX4" fmla="*/ 239855 w 239751"/>
                <a:gd name="connsiteY4" fmla="*/ 118454 h 237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751" h="237329">
                  <a:moveTo>
                    <a:pt x="239855" y="118454"/>
                  </a:moveTo>
                  <a:cubicBezTo>
                    <a:pt x="239855" y="183986"/>
                    <a:pt x="186189" y="237119"/>
                    <a:pt x="119979" y="237119"/>
                  </a:cubicBezTo>
                  <a:cubicBezTo>
                    <a:pt x="53793" y="237119"/>
                    <a:pt x="103" y="183986"/>
                    <a:pt x="103" y="118454"/>
                  </a:cubicBezTo>
                  <a:cubicBezTo>
                    <a:pt x="103" y="52922"/>
                    <a:pt x="53793" y="-211"/>
                    <a:pt x="119979" y="-211"/>
                  </a:cubicBezTo>
                  <a:cubicBezTo>
                    <a:pt x="186189" y="-211"/>
                    <a:pt x="239855" y="52922"/>
                    <a:pt x="239855" y="118454"/>
                  </a:cubicBezTo>
                  <a:close/>
                </a:path>
              </a:pathLst>
            </a:custGeom>
            <a:solidFill>
              <a:srgbClr val="76BC2D"/>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5" name="Freeform: Shape 74">
              <a:extLst>
                <a:ext uri="{FF2B5EF4-FFF2-40B4-BE49-F238E27FC236}">
                  <a16:creationId xmlns:a16="http://schemas.microsoft.com/office/drawing/2014/main" id="{E17C6323-9FD9-927A-AA3B-53D87C47AD08}"/>
                </a:ext>
              </a:extLst>
            </p:cNvPr>
            <p:cNvSpPr/>
            <p:nvPr/>
          </p:nvSpPr>
          <p:spPr>
            <a:xfrm>
              <a:off x="7471581" y="4146371"/>
              <a:ext cx="62952" cy="60531"/>
            </a:xfrm>
            <a:custGeom>
              <a:avLst/>
              <a:gdLst>
                <a:gd name="connsiteX0" fmla="*/ 63056 w 62952"/>
                <a:gd name="connsiteY0" fmla="*/ 48000 h 60531"/>
                <a:gd name="connsiteX1" fmla="*/ 52061 w 62952"/>
                <a:gd name="connsiteY1" fmla="*/ 58922 h 60531"/>
                <a:gd name="connsiteX2" fmla="*/ 45256 w 62952"/>
                <a:gd name="connsiteY2" fmla="*/ 58922 h 60531"/>
                <a:gd name="connsiteX3" fmla="*/ 45256 w 62952"/>
                <a:gd name="connsiteY3" fmla="*/ 58922 h 60531"/>
                <a:gd name="connsiteX4" fmla="*/ 1520 w 62952"/>
                <a:gd name="connsiteY4" fmla="*/ 15500 h 60531"/>
                <a:gd name="connsiteX5" fmla="*/ 1520 w 62952"/>
                <a:gd name="connsiteY5" fmla="*/ 8768 h 60531"/>
                <a:gd name="connsiteX6" fmla="*/ 1520 w 62952"/>
                <a:gd name="connsiteY6" fmla="*/ 8768 h 60531"/>
                <a:gd name="connsiteX7" fmla="*/ 9148 w 62952"/>
                <a:gd name="connsiteY7" fmla="*/ 1188 h 60531"/>
                <a:gd name="connsiteX8" fmla="*/ 15929 w 62952"/>
                <a:gd name="connsiteY8" fmla="*/ 1188 h 60531"/>
                <a:gd name="connsiteX9" fmla="*/ 15929 w 62952"/>
                <a:gd name="connsiteY9" fmla="*/ 1188 h 60531"/>
                <a:gd name="connsiteX10" fmla="*/ 63056 w 62952"/>
                <a:gd name="connsiteY10" fmla="*/ 47975 h 60531"/>
                <a:gd name="connsiteX11" fmla="*/ 63056 w 62952"/>
                <a:gd name="connsiteY11" fmla="*/ 47975 h 6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952" h="60531">
                  <a:moveTo>
                    <a:pt x="63056" y="48000"/>
                  </a:moveTo>
                  <a:lnTo>
                    <a:pt x="52061" y="58922"/>
                  </a:lnTo>
                  <a:cubicBezTo>
                    <a:pt x="50172" y="60786"/>
                    <a:pt x="47145" y="60786"/>
                    <a:pt x="45256" y="58922"/>
                  </a:cubicBezTo>
                  <a:lnTo>
                    <a:pt x="45256" y="58922"/>
                  </a:lnTo>
                  <a:lnTo>
                    <a:pt x="1520" y="15500"/>
                  </a:lnTo>
                  <a:cubicBezTo>
                    <a:pt x="-369" y="13635"/>
                    <a:pt x="-369" y="10632"/>
                    <a:pt x="1520" y="8768"/>
                  </a:cubicBezTo>
                  <a:lnTo>
                    <a:pt x="1520" y="8768"/>
                  </a:lnTo>
                  <a:lnTo>
                    <a:pt x="9148" y="1188"/>
                  </a:lnTo>
                  <a:cubicBezTo>
                    <a:pt x="11013" y="-677"/>
                    <a:pt x="14064" y="-677"/>
                    <a:pt x="15929" y="1188"/>
                  </a:cubicBezTo>
                  <a:lnTo>
                    <a:pt x="15929" y="1188"/>
                  </a:lnTo>
                  <a:lnTo>
                    <a:pt x="63056" y="47975"/>
                  </a:lnTo>
                  <a:lnTo>
                    <a:pt x="63056" y="47975"/>
                  </a:ln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76" name="Freeform: Shape 75">
              <a:extLst>
                <a:ext uri="{FF2B5EF4-FFF2-40B4-BE49-F238E27FC236}">
                  <a16:creationId xmlns:a16="http://schemas.microsoft.com/office/drawing/2014/main" id="{A8B1A68C-B25D-42B5-A9DB-3328B268BF80}"/>
                </a:ext>
              </a:extLst>
            </p:cNvPr>
            <p:cNvSpPr/>
            <p:nvPr/>
          </p:nvSpPr>
          <p:spPr>
            <a:xfrm>
              <a:off x="7505473" y="4095503"/>
              <a:ext cx="116255" cy="111405"/>
            </a:xfrm>
            <a:custGeom>
              <a:avLst/>
              <a:gdLst>
                <a:gd name="connsiteX0" fmla="*/ 11098 w 116255"/>
                <a:gd name="connsiteY0" fmla="*/ 109790 h 111405"/>
                <a:gd name="connsiteX1" fmla="*/ 103 w 116255"/>
                <a:gd name="connsiteY1" fmla="*/ 99062 h 111405"/>
                <a:gd name="connsiteX2" fmla="*/ 103 w 116255"/>
                <a:gd name="connsiteY2" fmla="*/ 99062 h 111405"/>
                <a:gd name="connsiteX3" fmla="*/ 100556 w 116255"/>
                <a:gd name="connsiteY3" fmla="*/ 1151 h 111405"/>
                <a:gd name="connsiteX4" fmla="*/ 107337 w 116255"/>
                <a:gd name="connsiteY4" fmla="*/ 1151 h 111405"/>
                <a:gd name="connsiteX5" fmla="*/ 107337 w 116255"/>
                <a:gd name="connsiteY5" fmla="*/ 1151 h 111405"/>
                <a:gd name="connsiteX6" fmla="*/ 114941 w 116255"/>
                <a:gd name="connsiteY6" fmla="*/ 8586 h 111405"/>
                <a:gd name="connsiteX7" fmla="*/ 114941 w 116255"/>
                <a:gd name="connsiteY7" fmla="*/ 15197 h 111405"/>
                <a:gd name="connsiteX8" fmla="*/ 114941 w 116255"/>
                <a:gd name="connsiteY8" fmla="*/ 15197 h 111405"/>
                <a:gd name="connsiteX9" fmla="*/ 17879 w 116255"/>
                <a:gd name="connsiteY9" fmla="*/ 109814 h 111405"/>
                <a:gd name="connsiteX10" fmla="*/ 11098 w 116255"/>
                <a:gd name="connsiteY10" fmla="*/ 109814 h 111405"/>
                <a:gd name="connsiteX11" fmla="*/ 11098 w 116255"/>
                <a:gd name="connsiteY11" fmla="*/ 109814 h 11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55" h="111405">
                  <a:moveTo>
                    <a:pt x="11098" y="109790"/>
                  </a:moveTo>
                  <a:lnTo>
                    <a:pt x="103" y="99062"/>
                  </a:lnTo>
                  <a:lnTo>
                    <a:pt x="103" y="99062"/>
                  </a:lnTo>
                  <a:lnTo>
                    <a:pt x="100556" y="1151"/>
                  </a:lnTo>
                  <a:cubicBezTo>
                    <a:pt x="102421" y="-665"/>
                    <a:pt x="105448" y="-665"/>
                    <a:pt x="107337" y="1151"/>
                  </a:cubicBezTo>
                  <a:lnTo>
                    <a:pt x="107337" y="1151"/>
                  </a:lnTo>
                  <a:lnTo>
                    <a:pt x="114941" y="8586"/>
                  </a:lnTo>
                  <a:cubicBezTo>
                    <a:pt x="116830" y="10426"/>
                    <a:pt x="116830" y="13357"/>
                    <a:pt x="114941" y="15197"/>
                  </a:cubicBezTo>
                  <a:lnTo>
                    <a:pt x="114941" y="15197"/>
                  </a:lnTo>
                  <a:lnTo>
                    <a:pt x="17879" y="109814"/>
                  </a:lnTo>
                  <a:cubicBezTo>
                    <a:pt x="16014" y="111655"/>
                    <a:pt x="12987" y="111655"/>
                    <a:pt x="11098" y="109814"/>
                  </a:cubicBezTo>
                  <a:lnTo>
                    <a:pt x="11098" y="109814"/>
                  </a:lnTo>
                  <a:close/>
                </a:path>
              </a:pathLst>
            </a:custGeom>
            <a:solidFill>
              <a:srgbClr val="F0F0F0"/>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grpSp>
      <p:pic>
        <p:nvPicPr>
          <p:cNvPr id="77" name="Picture 76">
            <a:extLst>
              <a:ext uri="{FF2B5EF4-FFF2-40B4-BE49-F238E27FC236}">
                <a16:creationId xmlns:a16="http://schemas.microsoft.com/office/drawing/2014/main" id="{4E60D232-8004-671B-B288-233FC65C703A}"/>
              </a:ext>
              <a:ext uri="{C183D7F6-B498-43B3-948B-1728B52AA6E4}">
                <adec:decorative xmlns:adec="http://schemas.microsoft.com/office/drawing/2017/decorative" val="1"/>
              </a:ext>
            </a:extLst>
          </p:cNvPr>
          <p:cNvPicPr>
            <a:picLocks noChangeAspect="1"/>
          </p:cNvPicPr>
          <p:nvPr/>
        </p:nvPicPr>
        <p:blipFill>
          <a:blip r:embed="rId23"/>
          <a:stretch>
            <a:fillRect/>
          </a:stretch>
        </p:blipFill>
        <p:spPr>
          <a:xfrm>
            <a:off x="9447284" y="3418294"/>
            <a:ext cx="176811" cy="110015"/>
          </a:xfrm>
          <a:prstGeom prst="rect">
            <a:avLst/>
          </a:prstGeom>
        </p:spPr>
      </p:pic>
      <p:pic>
        <p:nvPicPr>
          <p:cNvPr id="78" name="Graphic 77">
            <a:extLst>
              <a:ext uri="{FF2B5EF4-FFF2-40B4-BE49-F238E27FC236}">
                <a16:creationId xmlns:a16="http://schemas.microsoft.com/office/drawing/2014/main" id="{F304C884-E5A0-6032-E937-EA3A4EB0570E}"/>
              </a:ext>
              <a:ext uri="{C183D7F6-B498-43B3-948B-1728B52AA6E4}">
                <adec:decorative xmlns:adec="http://schemas.microsoft.com/office/drawing/2017/decorative" val="1"/>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2894925" y="4437743"/>
            <a:ext cx="241122" cy="241122"/>
          </a:xfrm>
          <a:prstGeom prst="rect">
            <a:avLst/>
          </a:prstGeom>
        </p:spPr>
      </p:pic>
      <p:grpSp>
        <p:nvGrpSpPr>
          <p:cNvPr id="79" name="Group 78">
            <a:extLst>
              <a:ext uri="{FF2B5EF4-FFF2-40B4-BE49-F238E27FC236}">
                <a16:creationId xmlns:a16="http://schemas.microsoft.com/office/drawing/2014/main" id="{6F3AD617-DC8C-7F10-7817-35888F28B915}"/>
              </a:ext>
              <a:ext uri="{C183D7F6-B498-43B3-948B-1728B52AA6E4}">
                <adec:decorative xmlns:adec="http://schemas.microsoft.com/office/drawing/2017/decorative" val="1"/>
              </a:ext>
            </a:extLst>
          </p:cNvPr>
          <p:cNvGrpSpPr/>
          <p:nvPr/>
        </p:nvGrpSpPr>
        <p:grpSpPr>
          <a:xfrm>
            <a:off x="7219736" y="4095583"/>
            <a:ext cx="188692" cy="193706"/>
            <a:chOff x="7314489" y="4075487"/>
            <a:chExt cx="188692" cy="193706"/>
          </a:xfrm>
        </p:grpSpPr>
        <p:sp>
          <p:nvSpPr>
            <p:cNvPr id="80" name="Freeform: Shape 79">
              <a:extLst>
                <a:ext uri="{FF2B5EF4-FFF2-40B4-BE49-F238E27FC236}">
                  <a16:creationId xmlns:a16="http://schemas.microsoft.com/office/drawing/2014/main" id="{68EFE16C-DF2B-F430-081F-7785C0D16B48}"/>
                </a:ext>
              </a:extLst>
            </p:cNvPr>
            <p:cNvSpPr/>
            <p:nvPr/>
          </p:nvSpPr>
          <p:spPr>
            <a:xfrm>
              <a:off x="7375098" y="4083907"/>
              <a:ext cx="67473" cy="185286"/>
            </a:xfrm>
            <a:custGeom>
              <a:avLst/>
              <a:gdLst>
                <a:gd name="connsiteX0" fmla="*/ 49072 w 67473"/>
                <a:gd name="connsiteY0" fmla="*/ 0 h 185286"/>
                <a:gd name="connsiteX1" fmla="*/ 49072 w 67473"/>
                <a:gd name="connsiteY1" fmla="*/ 103144 h 185286"/>
                <a:gd name="connsiteX2" fmla="*/ 33737 w 67473"/>
                <a:gd name="connsiteY2" fmla="*/ 113669 h 185286"/>
                <a:gd name="connsiteX3" fmla="*/ 33737 w 67473"/>
                <a:gd name="connsiteY3" fmla="*/ 113669 h 185286"/>
                <a:gd name="connsiteX4" fmla="*/ 18402 w 67473"/>
                <a:gd name="connsiteY4" fmla="*/ 103144 h 185286"/>
                <a:gd name="connsiteX5" fmla="*/ 18402 w 67473"/>
                <a:gd name="connsiteY5" fmla="*/ 0 h 185286"/>
                <a:gd name="connsiteX6" fmla="*/ 0 w 67473"/>
                <a:gd name="connsiteY6" fmla="*/ 0 h 185286"/>
                <a:gd name="connsiteX7" fmla="*/ 0 w 67473"/>
                <a:gd name="connsiteY7" fmla="*/ 103144 h 185286"/>
                <a:gd name="connsiteX8" fmla="*/ 24536 w 67473"/>
                <a:gd name="connsiteY8" fmla="*/ 125401 h 185286"/>
                <a:gd name="connsiteX9" fmla="*/ 24536 w 67473"/>
                <a:gd name="connsiteY9" fmla="*/ 166341 h 185286"/>
                <a:gd name="connsiteX10" fmla="*/ 21469 w 67473"/>
                <a:gd name="connsiteY10" fmla="*/ 181075 h 185286"/>
                <a:gd name="connsiteX11" fmla="*/ 42938 w 67473"/>
                <a:gd name="connsiteY11" fmla="*/ 183180 h 185286"/>
                <a:gd name="connsiteX12" fmla="*/ 46005 w 67473"/>
                <a:gd name="connsiteY12" fmla="*/ 168445 h 185286"/>
                <a:gd name="connsiteX13" fmla="*/ 42938 w 67473"/>
                <a:gd name="connsiteY13" fmla="*/ 166341 h 185286"/>
                <a:gd name="connsiteX14" fmla="*/ 42938 w 67473"/>
                <a:gd name="connsiteY14" fmla="*/ 125413 h 185286"/>
                <a:gd name="connsiteX15" fmla="*/ 67474 w 67473"/>
                <a:gd name="connsiteY15" fmla="*/ 103144 h 185286"/>
                <a:gd name="connsiteX16" fmla="*/ 67474 w 67473"/>
                <a:gd name="connsiteY16" fmla="*/ 0 h 18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473" h="185286">
                  <a:moveTo>
                    <a:pt x="49072" y="0"/>
                  </a:moveTo>
                  <a:lnTo>
                    <a:pt x="49072" y="103144"/>
                  </a:lnTo>
                  <a:cubicBezTo>
                    <a:pt x="49072" y="108957"/>
                    <a:pt x="42206" y="113669"/>
                    <a:pt x="33737" y="113669"/>
                  </a:cubicBezTo>
                  <a:lnTo>
                    <a:pt x="33737" y="113669"/>
                  </a:lnTo>
                  <a:cubicBezTo>
                    <a:pt x="25268" y="113669"/>
                    <a:pt x="18402" y="108957"/>
                    <a:pt x="18402" y="103144"/>
                  </a:cubicBezTo>
                  <a:lnTo>
                    <a:pt x="18402" y="0"/>
                  </a:lnTo>
                  <a:lnTo>
                    <a:pt x="0" y="0"/>
                  </a:lnTo>
                  <a:lnTo>
                    <a:pt x="0" y="103144"/>
                  </a:lnTo>
                  <a:cubicBezTo>
                    <a:pt x="25" y="113490"/>
                    <a:pt x="10037" y="122571"/>
                    <a:pt x="24536" y="125401"/>
                  </a:cubicBezTo>
                  <a:lnTo>
                    <a:pt x="24536" y="166341"/>
                  </a:lnTo>
                  <a:cubicBezTo>
                    <a:pt x="17761" y="169828"/>
                    <a:pt x="16387" y="176425"/>
                    <a:pt x="21469" y="181075"/>
                  </a:cubicBezTo>
                  <a:cubicBezTo>
                    <a:pt x="26551" y="185726"/>
                    <a:pt x="36163" y="186668"/>
                    <a:pt x="42938" y="183180"/>
                  </a:cubicBezTo>
                  <a:cubicBezTo>
                    <a:pt x="49713" y="179693"/>
                    <a:pt x="51087" y="173096"/>
                    <a:pt x="46005" y="168445"/>
                  </a:cubicBezTo>
                  <a:cubicBezTo>
                    <a:pt x="45133" y="167648"/>
                    <a:pt x="44100" y="166939"/>
                    <a:pt x="42938" y="166341"/>
                  </a:cubicBezTo>
                  <a:lnTo>
                    <a:pt x="42938" y="125413"/>
                  </a:lnTo>
                  <a:cubicBezTo>
                    <a:pt x="57459" y="122598"/>
                    <a:pt x="67483" y="113501"/>
                    <a:pt x="67474" y="103144"/>
                  </a:cubicBezTo>
                  <a:lnTo>
                    <a:pt x="67474" y="0"/>
                  </a:lnTo>
                  <a:close/>
                </a:path>
              </a:pathLst>
            </a:custGeom>
            <a:solidFill>
              <a:schemeClr val="tx1"/>
            </a:solidFill>
            <a:ln w="2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BC54A43-8C8C-523B-082C-D3DB694BDB5D}"/>
                </a:ext>
              </a:extLst>
            </p:cNvPr>
            <p:cNvSpPr/>
            <p:nvPr/>
          </p:nvSpPr>
          <p:spPr>
            <a:xfrm>
              <a:off x="7478315" y="4075487"/>
              <a:ext cx="24866" cy="53569"/>
            </a:xfrm>
            <a:custGeom>
              <a:avLst/>
              <a:gdLst>
                <a:gd name="connsiteX0" fmla="*/ 12590 w 24866"/>
                <a:gd name="connsiteY0" fmla="*/ 26780 h 53569"/>
                <a:gd name="connsiteX1" fmla="*/ 0 w 24866"/>
                <a:gd name="connsiteY1" fmla="*/ 47619 h 53569"/>
                <a:gd name="connsiteX2" fmla="*/ 8670 w 24866"/>
                <a:gd name="connsiteY2" fmla="*/ 53570 h 53569"/>
                <a:gd name="connsiteX3" fmla="*/ 8775 w 24866"/>
                <a:gd name="connsiteY3" fmla="*/ 72 h 53569"/>
                <a:gd name="connsiteX4" fmla="*/ 8670 w 24866"/>
                <a:gd name="connsiteY4" fmla="*/ 0 h 53569"/>
                <a:gd name="connsiteX5" fmla="*/ 0 w 24866"/>
                <a:gd name="connsiteY5" fmla="*/ 5951 h 53569"/>
                <a:gd name="connsiteX6" fmla="*/ 12590 w 24866"/>
                <a:gd name="connsiteY6" fmla="*/ 26780 h 5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6" h="53569">
                  <a:moveTo>
                    <a:pt x="12590" y="26780"/>
                  </a:moveTo>
                  <a:cubicBezTo>
                    <a:pt x="12602" y="34599"/>
                    <a:pt x="8070" y="42100"/>
                    <a:pt x="0" y="47619"/>
                  </a:cubicBezTo>
                  <a:lnTo>
                    <a:pt x="8670" y="53570"/>
                  </a:lnTo>
                  <a:cubicBezTo>
                    <a:pt x="30224" y="38817"/>
                    <a:pt x="30271" y="14865"/>
                    <a:pt x="8775" y="72"/>
                  </a:cubicBezTo>
                  <a:cubicBezTo>
                    <a:pt x="8740" y="48"/>
                    <a:pt x="8705" y="24"/>
                    <a:pt x="8670" y="0"/>
                  </a:cubicBezTo>
                  <a:lnTo>
                    <a:pt x="0" y="5951"/>
                  </a:lnTo>
                  <a:cubicBezTo>
                    <a:pt x="8067" y="11468"/>
                    <a:pt x="12598" y="18964"/>
                    <a:pt x="12590" y="26780"/>
                  </a:cubicBezTo>
                  <a:close/>
                </a:path>
              </a:pathLst>
            </a:custGeom>
            <a:solidFill>
              <a:schemeClr val="tx1"/>
            </a:solidFill>
            <a:ln w="2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012B1008-5FDF-EB46-ED89-DBB4C2E55B89}"/>
                </a:ext>
              </a:extLst>
            </p:cNvPr>
            <p:cNvSpPr/>
            <p:nvPr/>
          </p:nvSpPr>
          <p:spPr>
            <a:xfrm>
              <a:off x="7460974" y="4087389"/>
              <a:ext cx="17663" cy="29756"/>
            </a:xfrm>
            <a:custGeom>
              <a:avLst/>
              <a:gdLst>
                <a:gd name="connsiteX0" fmla="*/ 8670 w 17663"/>
                <a:gd name="connsiteY0" fmla="*/ 0 h 29756"/>
                <a:gd name="connsiteX1" fmla="*/ 0 w 17663"/>
                <a:gd name="connsiteY1" fmla="*/ 5951 h 29756"/>
                <a:gd name="connsiteX2" fmla="*/ 25 w 17663"/>
                <a:gd name="connsiteY2" fmla="*/ 23788 h 29756"/>
                <a:gd name="connsiteX3" fmla="*/ 0 w 17663"/>
                <a:gd name="connsiteY3" fmla="*/ 23805 h 29756"/>
                <a:gd name="connsiteX4" fmla="*/ 8670 w 17663"/>
                <a:gd name="connsiteY4" fmla="*/ 29756 h 29756"/>
                <a:gd name="connsiteX5" fmla="*/ 8717 w 17663"/>
                <a:gd name="connsiteY5" fmla="*/ 32 h 29756"/>
                <a:gd name="connsiteX6" fmla="*/ 8670 w 17663"/>
                <a:gd name="connsiteY6" fmla="*/ 0 h 2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3" h="29756">
                  <a:moveTo>
                    <a:pt x="8670" y="0"/>
                  </a:moveTo>
                  <a:lnTo>
                    <a:pt x="0" y="5951"/>
                  </a:lnTo>
                  <a:cubicBezTo>
                    <a:pt x="7184" y="10872"/>
                    <a:pt x="7195" y="18858"/>
                    <a:pt x="25" y="23788"/>
                  </a:cubicBezTo>
                  <a:cubicBezTo>
                    <a:pt x="17" y="23794"/>
                    <a:pt x="8" y="23800"/>
                    <a:pt x="0" y="23805"/>
                  </a:cubicBezTo>
                  <a:lnTo>
                    <a:pt x="8670" y="29756"/>
                  </a:lnTo>
                  <a:cubicBezTo>
                    <a:pt x="20643" y="21557"/>
                    <a:pt x="20663" y="8249"/>
                    <a:pt x="8717" y="32"/>
                  </a:cubicBezTo>
                  <a:cubicBezTo>
                    <a:pt x="8701" y="21"/>
                    <a:pt x="8686" y="11"/>
                    <a:pt x="8670" y="0"/>
                  </a:cubicBezTo>
                  <a:close/>
                </a:path>
              </a:pathLst>
            </a:custGeom>
            <a:solidFill>
              <a:schemeClr val="tx1"/>
            </a:solidFill>
            <a:ln w="2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8E03B382-8D21-2B45-2764-1D875C827A26}"/>
                </a:ext>
              </a:extLst>
            </p:cNvPr>
            <p:cNvSpPr/>
            <p:nvPr/>
          </p:nvSpPr>
          <p:spPr>
            <a:xfrm>
              <a:off x="7314489" y="4075487"/>
              <a:ext cx="24866" cy="53569"/>
            </a:xfrm>
            <a:custGeom>
              <a:avLst/>
              <a:gdLst>
                <a:gd name="connsiteX0" fmla="*/ 12276 w 24866"/>
                <a:gd name="connsiteY0" fmla="*/ 26780 h 53569"/>
                <a:gd name="connsiteX1" fmla="*/ 24866 w 24866"/>
                <a:gd name="connsiteY1" fmla="*/ 47619 h 53569"/>
                <a:gd name="connsiteX2" fmla="*/ 16196 w 24866"/>
                <a:gd name="connsiteY2" fmla="*/ 53570 h 53569"/>
                <a:gd name="connsiteX3" fmla="*/ 16091 w 24866"/>
                <a:gd name="connsiteY3" fmla="*/ 72 h 53569"/>
                <a:gd name="connsiteX4" fmla="*/ 16196 w 24866"/>
                <a:gd name="connsiteY4" fmla="*/ 0 h 53569"/>
                <a:gd name="connsiteX5" fmla="*/ 24866 w 24866"/>
                <a:gd name="connsiteY5" fmla="*/ 5951 h 53569"/>
                <a:gd name="connsiteX6" fmla="*/ 12276 w 24866"/>
                <a:gd name="connsiteY6" fmla="*/ 26780 h 5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6" h="53569">
                  <a:moveTo>
                    <a:pt x="12276" y="26780"/>
                  </a:moveTo>
                  <a:cubicBezTo>
                    <a:pt x="12265" y="34599"/>
                    <a:pt x="16796" y="42100"/>
                    <a:pt x="24866" y="47619"/>
                  </a:cubicBezTo>
                  <a:lnTo>
                    <a:pt x="16196" y="53570"/>
                  </a:lnTo>
                  <a:cubicBezTo>
                    <a:pt x="-5357" y="38817"/>
                    <a:pt x="-5405" y="14865"/>
                    <a:pt x="16091" y="72"/>
                  </a:cubicBezTo>
                  <a:cubicBezTo>
                    <a:pt x="16126" y="48"/>
                    <a:pt x="16161" y="24"/>
                    <a:pt x="16196" y="0"/>
                  </a:cubicBezTo>
                  <a:lnTo>
                    <a:pt x="24866" y="5951"/>
                  </a:lnTo>
                  <a:cubicBezTo>
                    <a:pt x="16799" y="11468"/>
                    <a:pt x="12269" y="18964"/>
                    <a:pt x="12276" y="26780"/>
                  </a:cubicBezTo>
                  <a:close/>
                </a:path>
              </a:pathLst>
            </a:custGeom>
            <a:solidFill>
              <a:schemeClr val="tx1"/>
            </a:solidFill>
            <a:ln w="2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9A2E73B-C8F9-632D-9DB4-2F6A4CC80299}"/>
                </a:ext>
              </a:extLst>
            </p:cNvPr>
            <p:cNvSpPr/>
            <p:nvPr/>
          </p:nvSpPr>
          <p:spPr>
            <a:xfrm>
              <a:off x="7339033" y="4087389"/>
              <a:ext cx="17663" cy="29756"/>
            </a:xfrm>
            <a:custGeom>
              <a:avLst/>
              <a:gdLst>
                <a:gd name="connsiteX0" fmla="*/ 8993 w 17663"/>
                <a:gd name="connsiteY0" fmla="*/ 0 h 29756"/>
                <a:gd name="connsiteX1" fmla="*/ 17663 w 17663"/>
                <a:gd name="connsiteY1" fmla="*/ 5951 h 29756"/>
                <a:gd name="connsiteX2" fmla="*/ 17638 w 17663"/>
                <a:gd name="connsiteY2" fmla="*/ 23788 h 29756"/>
                <a:gd name="connsiteX3" fmla="*/ 17663 w 17663"/>
                <a:gd name="connsiteY3" fmla="*/ 23805 h 29756"/>
                <a:gd name="connsiteX4" fmla="*/ 8993 w 17663"/>
                <a:gd name="connsiteY4" fmla="*/ 29756 h 29756"/>
                <a:gd name="connsiteX5" fmla="*/ 8946 w 17663"/>
                <a:gd name="connsiteY5" fmla="*/ 32 h 29756"/>
                <a:gd name="connsiteX6" fmla="*/ 8993 w 17663"/>
                <a:gd name="connsiteY6" fmla="*/ 0 h 2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3" h="29756">
                  <a:moveTo>
                    <a:pt x="8993" y="0"/>
                  </a:moveTo>
                  <a:lnTo>
                    <a:pt x="17663" y="5951"/>
                  </a:lnTo>
                  <a:cubicBezTo>
                    <a:pt x="10480" y="10872"/>
                    <a:pt x="10468" y="18858"/>
                    <a:pt x="17638" y="23788"/>
                  </a:cubicBezTo>
                  <a:cubicBezTo>
                    <a:pt x="17646" y="23794"/>
                    <a:pt x="17655" y="23800"/>
                    <a:pt x="17663" y="23805"/>
                  </a:cubicBezTo>
                  <a:lnTo>
                    <a:pt x="8993" y="29756"/>
                  </a:lnTo>
                  <a:cubicBezTo>
                    <a:pt x="-2979" y="21557"/>
                    <a:pt x="-3000" y="8249"/>
                    <a:pt x="8946" y="32"/>
                  </a:cubicBezTo>
                  <a:cubicBezTo>
                    <a:pt x="8962" y="21"/>
                    <a:pt x="8977" y="11"/>
                    <a:pt x="8993" y="0"/>
                  </a:cubicBezTo>
                  <a:close/>
                </a:path>
              </a:pathLst>
            </a:custGeom>
            <a:solidFill>
              <a:schemeClr val="tx1"/>
            </a:solidFill>
            <a:ln w="2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3" name="Rounded Rectangle 6">
            <a:extLst>
              <a:ext uri="{FF2B5EF4-FFF2-40B4-BE49-F238E27FC236}">
                <a16:creationId xmlns:a16="http://schemas.microsoft.com/office/drawing/2014/main" id="{14181388-1DA8-7EB2-07C1-87E41BE0715D}"/>
              </a:ext>
              <a:ext uri="{C183D7F6-B498-43B3-948B-1728B52AA6E4}">
                <adec:decorative xmlns:adec="http://schemas.microsoft.com/office/drawing/2017/decorative" val="1"/>
              </a:ext>
            </a:extLst>
          </p:cNvPr>
          <p:cNvSpPr/>
          <p:nvPr/>
        </p:nvSpPr>
        <p:spPr bwMode="auto">
          <a:xfrm>
            <a:off x="582950" y="1208011"/>
            <a:ext cx="1008870" cy="5154689"/>
          </a:xfrm>
          <a:prstGeom prst="roundRect">
            <a:avLst>
              <a:gd name="adj" fmla="val 11218"/>
            </a:avLst>
          </a:prstGeom>
          <a:noFill/>
          <a:ln w="19050">
            <a:gradFill flip="none" rotWithShape="1">
              <a:gsLst>
                <a:gs pos="30000">
                  <a:schemeClr val="accent1"/>
                </a:gs>
                <a:gs pos="0">
                  <a:schemeClr val="accent3"/>
                </a:gs>
                <a:gs pos="100000">
                  <a:srgbClr val="FF5C39"/>
                </a:gs>
                <a:gs pos="70000">
                  <a:srgbClr val="C03BC4"/>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Semibold"/>
              <a:ea typeface="+mn-ea"/>
              <a:cs typeface="Segoe UI" pitchFamily="34" charset="0"/>
            </a:endParaRPr>
          </a:p>
        </p:txBody>
      </p:sp>
      <p:pic>
        <p:nvPicPr>
          <p:cNvPr id="224" name="Picture 223">
            <a:extLst>
              <a:ext uri="{FF2B5EF4-FFF2-40B4-BE49-F238E27FC236}">
                <a16:creationId xmlns:a16="http://schemas.microsoft.com/office/drawing/2014/main" id="{59FC4AA4-3D9E-9F68-178C-3A55BD9F36D0}"/>
              </a:ext>
              <a:ext uri="{C183D7F6-B498-43B3-948B-1728B52AA6E4}">
                <adec:decorative xmlns:adec="http://schemas.microsoft.com/office/drawing/2017/decorative" val="1"/>
              </a:ext>
            </a:extLst>
          </p:cNvPr>
          <p:cNvPicPr>
            <a:picLocks noChangeAspect="1"/>
          </p:cNvPicPr>
          <p:nvPr/>
        </p:nvPicPr>
        <p:blipFill>
          <a:blip r:embed="rId83" cstate="print">
            <a:extLst>
              <a:ext uri="{28A0092B-C50C-407E-A947-70E740481C1C}">
                <a14:useLocalDpi xmlns:a14="http://schemas.microsoft.com/office/drawing/2010/main" val="0"/>
              </a:ext>
            </a:extLst>
          </a:blip>
          <a:stretch>
            <a:fillRect/>
          </a:stretch>
        </p:blipFill>
        <p:spPr>
          <a:xfrm>
            <a:off x="845954" y="3030365"/>
            <a:ext cx="479833" cy="299894"/>
          </a:xfrm>
          <a:prstGeom prst="rect">
            <a:avLst/>
          </a:prstGeom>
          <a:ln w="6657" cap="flat">
            <a:noFill/>
            <a:prstDash val="solid"/>
            <a:miter/>
          </a:ln>
          <a:effectLst/>
        </p:spPr>
      </p:pic>
      <p:pic>
        <p:nvPicPr>
          <p:cNvPr id="225" name="Picture 224">
            <a:extLst>
              <a:ext uri="{FF2B5EF4-FFF2-40B4-BE49-F238E27FC236}">
                <a16:creationId xmlns:a16="http://schemas.microsoft.com/office/drawing/2014/main" id="{B7B48782-D1D5-7982-A4BA-9917D0DD153A}"/>
              </a:ext>
              <a:ext uri="{C183D7F6-B498-43B3-948B-1728B52AA6E4}">
                <adec:decorative xmlns:adec="http://schemas.microsoft.com/office/drawing/2017/decorative" val="1"/>
              </a:ext>
            </a:extLst>
          </p:cNvPr>
          <p:cNvPicPr>
            <a:picLocks noChangeAspect="1"/>
          </p:cNvPicPr>
          <p:nvPr/>
        </p:nvPicPr>
        <p:blipFill>
          <a:blip r:embed="rId84" cstate="print">
            <a:extLst>
              <a:ext uri="{28A0092B-C50C-407E-A947-70E740481C1C}">
                <a14:useLocalDpi xmlns:a14="http://schemas.microsoft.com/office/drawing/2010/main" val="0"/>
              </a:ext>
            </a:extLst>
          </a:blip>
          <a:srcRect/>
          <a:stretch/>
        </p:blipFill>
        <p:spPr>
          <a:xfrm>
            <a:off x="936985" y="1894302"/>
            <a:ext cx="297771" cy="297769"/>
          </a:xfrm>
          <a:prstGeom prst="rect">
            <a:avLst/>
          </a:prstGeom>
          <a:effectLst/>
        </p:spPr>
      </p:pic>
      <p:grpSp>
        <p:nvGrpSpPr>
          <p:cNvPr id="227" name="Group 226">
            <a:extLst>
              <a:ext uri="{FF2B5EF4-FFF2-40B4-BE49-F238E27FC236}">
                <a16:creationId xmlns:a16="http://schemas.microsoft.com/office/drawing/2014/main" id="{F0E42A22-0367-9A00-7691-1A7615EBFAEA}"/>
              </a:ext>
              <a:ext uri="{C183D7F6-B498-43B3-948B-1728B52AA6E4}">
                <adec:decorative xmlns:adec="http://schemas.microsoft.com/office/drawing/2017/decorative" val="1"/>
              </a:ext>
            </a:extLst>
          </p:cNvPr>
          <p:cNvGrpSpPr/>
          <p:nvPr/>
        </p:nvGrpSpPr>
        <p:grpSpPr>
          <a:xfrm>
            <a:off x="1518488" y="3616761"/>
            <a:ext cx="254928" cy="337189"/>
            <a:chOff x="1518488" y="3796590"/>
            <a:chExt cx="254928" cy="337189"/>
          </a:xfrm>
        </p:grpSpPr>
        <p:grpSp>
          <p:nvGrpSpPr>
            <p:cNvPr id="228" name="Group 227">
              <a:extLst>
                <a:ext uri="{FF2B5EF4-FFF2-40B4-BE49-F238E27FC236}">
                  <a16:creationId xmlns:a16="http://schemas.microsoft.com/office/drawing/2014/main" id="{051D23B5-2B15-03A6-89F2-1CFC85B88B91}"/>
                </a:ext>
              </a:extLst>
            </p:cNvPr>
            <p:cNvGrpSpPr/>
            <p:nvPr/>
          </p:nvGrpSpPr>
          <p:grpSpPr>
            <a:xfrm>
              <a:off x="1628186" y="3990751"/>
              <a:ext cx="145230" cy="143028"/>
              <a:chOff x="16224383" y="9209885"/>
              <a:chExt cx="508815" cy="508815"/>
            </a:xfrm>
          </p:grpSpPr>
          <p:sp>
            <p:nvSpPr>
              <p:cNvPr id="236" name="Oval 235">
                <a:extLst>
                  <a:ext uri="{FF2B5EF4-FFF2-40B4-BE49-F238E27FC236}">
                    <a16:creationId xmlns:a16="http://schemas.microsoft.com/office/drawing/2014/main" id="{6BF515D0-E8CD-0C12-EFE7-404369694282}"/>
                  </a:ext>
                </a:extLst>
              </p:cNvPr>
              <p:cNvSpPr/>
              <p:nvPr/>
            </p:nvSpPr>
            <p:spPr bwMode="auto">
              <a:xfrm rot="10800000" flipH="1">
                <a:off x="16224383" y="9209885"/>
                <a:ext cx="508815" cy="50881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7" name="Group 236">
                <a:extLst>
                  <a:ext uri="{FF2B5EF4-FFF2-40B4-BE49-F238E27FC236}">
                    <a16:creationId xmlns:a16="http://schemas.microsoft.com/office/drawing/2014/main" id="{CE551066-70B6-4583-E2B5-E50061EBB0E3}"/>
                  </a:ext>
                </a:extLst>
              </p:cNvPr>
              <p:cNvGrpSpPr/>
              <p:nvPr/>
            </p:nvGrpSpPr>
            <p:grpSpPr>
              <a:xfrm rot="10800000" flipH="1">
                <a:off x="16379417" y="9369099"/>
                <a:ext cx="198748" cy="190385"/>
                <a:chOff x="35324374" y="1415095"/>
                <a:chExt cx="594355" cy="569347"/>
              </a:xfrm>
            </p:grpSpPr>
            <p:cxnSp>
              <p:nvCxnSpPr>
                <p:cNvPr id="238" name="Straight Connector 237">
                  <a:extLst>
                    <a:ext uri="{FF2B5EF4-FFF2-40B4-BE49-F238E27FC236}">
                      <a16:creationId xmlns:a16="http://schemas.microsoft.com/office/drawing/2014/main" id="{615DF601-6D46-C0FE-0261-B32D5E9804EF}"/>
                    </a:ext>
                  </a:extLst>
                </p:cNvPr>
                <p:cNvCxnSpPr>
                  <a:cxnSpLocks/>
                </p:cNvCxnSpPr>
                <p:nvPr/>
              </p:nvCxnSpPr>
              <p:spPr>
                <a:xfrm>
                  <a:off x="35324374" y="1700784"/>
                  <a:ext cx="594355" cy="0"/>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9" name="Group 238">
                  <a:extLst>
                    <a:ext uri="{FF2B5EF4-FFF2-40B4-BE49-F238E27FC236}">
                      <a16:creationId xmlns:a16="http://schemas.microsoft.com/office/drawing/2014/main" id="{EE3A57B7-8B83-74E1-06AC-24C5F282951C}"/>
                    </a:ext>
                  </a:extLst>
                </p:cNvPr>
                <p:cNvGrpSpPr/>
                <p:nvPr/>
              </p:nvGrpSpPr>
              <p:grpSpPr>
                <a:xfrm>
                  <a:off x="35699013" y="1415095"/>
                  <a:ext cx="219716" cy="569347"/>
                  <a:chOff x="35910875" y="1413753"/>
                  <a:chExt cx="108054" cy="569347"/>
                </a:xfrm>
              </p:grpSpPr>
              <p:cxnSp>
                <p:nvCxnSpPr>
                  <p:cNvPr id="240" name="Straight Connector 239">
                    <a:extLst>
                      <a:ext uri="{FF2B5EF4-FFF2-40B4-BE49-F238E27FC236}">
                        <a16:creationId xmlns:a16="http://schemas.microsoft.com/office/drawing/2014/main" id="{C05C49DC-1CC5-79F7-8746-872E32DADFC7}"/>
                      </a:ext>
                    </a:extLst>
                  </p:cNvPr>
                  <p:cNvCxnSpPr>
                    <a:cxnSpLocks/>
                  </p:cNvCxnSpPr>
                  <p:nvPr/>
                </p:nvCxnSpPr>
                <p:spPr>
                  <a:xfrm>
                    <a:off x="35910875" y="1413753"/>
                    <a:ext cx="108054" cy="287031"/>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270B18F-E9A1-7445-04C9-B215C7B287EA}"/>
                      </a:ext>
                    </a:extLst>
                  </p:cNvPr>
                  <p:cNvCxnSpPr>
                    <a:cxnSpLocks/>
                  </p:cNvCxnSpPr>
                  <p:nvPr/>
                </p:nvCxnSpPr>
                <p:spPr>
                  <a:xfrm flipH="1">
                    <a:off x="35910875" y="1696069"/>
                    <a:ext cx="108054" cy="287031"/>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nvGrpSpPr>
            <p:cNvPr id="229" name="Group 228">
              <a:extLst>
                <a:ext uri="{FF2B5EF4-FFF2-40B4-BE49-F238E27FC236}">
                  <a16:creationId xmlns:a16="http://schemas.microsoft.com/office/drawing/2014/main" id="{A5858AE9-4CE4-4647-CB9D-4613BB07BE50}"/>
                </a:ext>
              </a:extLst>
            </p:cNvPr>
            <p:cNvGrpSpPr/>
            <p:nvPr/>
          </p:nvGrpSpPr>
          <p:grpSpPr>
            <a:xfrm>
              <a:off x="1518488" y="3796590"/>
              <a:ext cx="145230" cy="143028"/>
              <a:chOff x="15804019" y="8435545"/>
              <a:chExt cx="508815" cy="508815"/>
            </a:xfrm>
          </p:grpSpPr>
          <p:sp>
            <p:nvSpPr>
              <p:cNvPr id="230" name="Oval 229">
                <a:extLst>
                  <a:ext uri="{FF2B5EF4-FFF2-40B4-BE49-F238E27FC236}">
                    <a16:creationId xmlns:a16="http://schemas.microsoft.com/office/drawing/2014/main" id="{2BA24658-7E11-9EC4-A1D3-716D3DA13C45}"/>
                  </a:ext>
                </a:extLst>
              </p:cNvPr>
              <p:cNvSpPr/>
              <p:nvPr/>
            </p:nvSpPr>
            <p:spPr bwMode="auto">
              <a:xfrm flipH="1">
                <a:off x="15804019" y="8435545"/>
                <a:ext cx="508815" cy="50881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1" name="Group 230">
                <a:extLst>
                  <a:ext uri="{FF2B5EF4-FFF2-40B4-BE49-F238E27FC236}">
                    <a16:creationId xmlns:a16="http://schemas.microsoft.com/office/drawing/2014/main" id="{89EE4FFA-E831-5835-5AD7-BE09A22B250F}"/>
                  </a:ext>
                </a:extLst>
              </p:cNvPr>
              <p:cNvGrpSpPr/>
              <p:nvPr/>
            </p:nvGrpSpPr>
            <p:grpSpPr>
              <a:xfrm flipH="1">
                <a:off x="15959052" y="8594760"/>
                <a:ext cx="198748" cy="190385"/>
                <a:chOff x="35324374" y="1415095"/>
                <a:chExt cx="594355" cy="569347"/>
              </a:xfrm>
            </p:grpSpPr>
            <p:cxnSp>
              <p:nvCxnSpPr>
                <p:cNvPr id="232" name="Straight Connector 231">
                  <a:extLst>
                    <a:ext uri="{FF2B5EF4-FFF2-40B4-BE49-F238E27FC236}">
                      <a16:creationId xmlns:a16="http://schemas.microsoft.com/office/drawing/2014/main" id="{972F44D5-804D-D295-B0B9-8ADE50640244}"/>
                    </a:ext>
                  </a:extLst>
                </p:cNvPr>
                <p:cNvCxnSpPr>
                  <a:cxnSpLocks/>
                </p:cNvCxnSpPr>
                <p:nvPr/>
              </p:nvCxnSpPr>
              <p:spPr>
                <a:xfrm>
                  <a:off x="35324374" y="1700784"/>
                  <a:ext cx="594355" cy="0"/>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3" name="Group 232">
                  <a:extLst>
                    <a:ext uri="{FF2B5EF4-FFF2-40B4-BE49-F238E27FC236}">
                      <a16:creationId xmlns:a16="http://schemas.microsoft.com/office/drawing/2014/main" id="{1889A687-AE63-FF23-E7B2-F1F3AC7C8571}"/>
                    </a:ext>
                  </a:extLst>
                </p:cNvPr>
                <p:cNvGrpSpPr/>
                <p:nvPr/>
              </p:nvGrpSpPr>
              <p:grpSpPr>
                <a:xfrm>
                  <a:off x="35699013" y="1415095"/>
                  <a:ext cx="219716" cy="569347"/>
                  <a:chOff x="35910875" y="1413753"/>
                  <a:chExt cx="108054" cy="569347"/>
                </a:xfrm>
              </p:grpSpPr>
              <p:cxnSp>
                <p:nvCxnSpPr>
                  <p:cNvPr id="234" name="Straight Connector 233">
                    <a:extLst>
                      <a:ext uri="{FF2B5EF4-FFF2-40B4-BE49-F238E27FC236}">
                        <a16:creationId xmlns:a16="http://schemas.microsoft.com/office/drawing/2014/main" id="{9341DCE3-C243-F9F3-8753-999786563E1D}"/>
                      </a:ext>
                    </a:extLst>
                  </p:cNvPr>
                  <p:cNvCxnSpPr>
                    <a:cxnSpLocks/>
                  </p:cNvCxnSpPr>
                  <p:nvPr/>
                </p:nvCxnSpPr>
                <p:spPr>
                  <a:xfrm>
                    <a:off x="35910875" y="1413753"/>
                    <a:ext cx="108054" cy="287031"/>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DD7ACDCC-1ED8-A6A0-7622-F7B85CF5439A}"/>
                      </a:ext>
                    </a:extLst>
                  </p:cNvPr>
                  <p:cNvCxnSpPr>
                    <a:cxnSpLocks/>
                  </p:cNvCxnSpPr>
                  <p:nvPr/>
                </p:nvCxnSpPr>
                <p:spPr>
                  <a:xfrm flipH="1">
                    <a:off x="35910875" y="1696069"/>
                    <a:ext cx="108054" cy="287031"/>
                  </a:xfrm>
                  <a:prstGeom prst="line">
                    <a:avLst/>
                  </a:prstGeom>
                  <a:solidFill>
                    <a:schemeClr val="accent3"/>
                  </a:solidFill>
                  <a:ln w="1587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pic>
        <p:nvPicPr>
          <p:cNvPr id="242" name="Graphic 241">
            <a:extLst>
              <a:ext uri="{FF2B5EF4-FFF2-40B4-BE49-F238E27FC236}">
                <a16:creationId xmlns:a16="http://schemas.microsoft.com/office/drawing/2014/main" id="{F86A099F-11BE-65FF-F73B-E7B160B2812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4351" y="5156694"/>
            <a:ext cx="283038" cy="283037"/>
          </a:xfrm>
          <a:prstGeom prst="rect">
            <a:avLst/>
          </a:prstGeom>
          <a:effectLst/>
        </p:spPr>
      </p:pic>
      <p:sp>
        <p:nvSpPr>
          <p:cNvPr id="243" name="Rounded Rectangle 11">
            <a:extLst>
              <a:ext uri="{FF2B5EF4-FFF2-40B4-BE49-F238E27FC236}">
                <a16:creationId xmlns:a16="http://schemas.microsoft.com/office/drawing/2014/main" id="{8B31033E-415A-BAE3-6CF9-244F52CC6738}"/>
              </a:ext>
              <a:ext uri="{C183D7F6-B498-43B3-948B-1728B52AA6E4}">
                <adec:decorative xmlns:adec="http://schemas.microsoft.com/office/drawing/2017/decorative" val="1"/>
              </a:ext>
            </a:extLst>
          </p:cNvPr>
          <p:cNvSpPr/>
          <p:nvPr/>
        </p:nvSpPr>
        <p:spPr bwMode="auto">
          <a:xfrm>
            <a:off x="1795962" y="4992343"/>
            <a:ext cx="9701784" cy="480552"/>
          </a:xfrm>
          <a:prstGeom prst="roundRect">
            <a:avLst>
              <a:gd name="adj" fmla="val 22532"/>
            </a:avLst>
          </a:prstGeom>
          <a:noFill/>
          <a:ln w="12700" cap="rnd">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44" name="Group 243">
            <a:extLst>
              <a:ext uri="{FF2B5EF4-FFF2-40B4-BE49-F238E27FC236}">
                <a16:creationId xmlns:a16="http://schemas.microsoft.com/office/drawing/2014/main" id="{564D6BFD-4AFE-D27D-BC20-9B6D29A5A1C7}"/>
              </a:ext>
              <a:ext uri="{C183D7F6-B498-43B3-948B-1728B52AA6E4}">
                <adec:decorative xmlns:adec="http://schemas.microsoft.com/office/drawing/2017/decorative" val="1"/>
              </a:ext>
            </a:extLst>
          </p:cNvPr>
          <p:cNvGrpSpPr/>
          <p:nvPr/>
        </p:nvGrpSpPr>
        <p:grpSpPr>
          <a:xfrm>
            <a:off x="1886559" y="5173934"/>
            <a:ext cx="188941" cy="219357"/>
            <a:chOff x="10698068" y="3734694"/>
            <a:chExt cx="566669" cy="530360"/>
          </a:xfrm>
          <a:effectLst/>
        </p:grpSpPr>
        <p:sp>
          <p:nvSpPr>
            <p:cNvPr id="245" name="Freeform: Shape 244">
              <a:extLst>
                <a:ext uri="{FF2B5EF4-FFF2-40B4-BE49-F238E27FC236}">
                  <a16:creationId xmlns:a16="http://schemas.microsoft.com/office/drawing/2014/main" id="{AE1A87EC-B62A-C4F9-C454-032131669F19}"/>
                </a:ext>
              </a:extLst>
            </p:cNvPr>
            <p:cNvSpPr/>
            <p:nvPr/>
          </p:nvSpPr>
          <p:spPr>
            <a:xfrm>
              <a:off x="10698068" y="3734694"/>
              <a:ext cx="489189" cy="411694"/>
            </a:xfrm>
            <a:custGeom>
              <a:avLst/>
              <a:gdLst>
                <a:gd name="connsiteX0" fmla="*/ 466432 w 489189"/>
                <a:gd name="connsiteY0" fmla="*/ -211 h 411694"/>
                <a:gd name="connsiteX1" fmla="*/ 489293 w 489189"/>
                <a:gd name="connsiteY1" fmla="*/ 22675 h 411694"/>
                <a:gd name="connsiteX2" fmla="*/ 489293 w 489189"/>
                <a:gd name="connsiteY2" fmla="*/ 388574 h 411694"/>
                <a:gd name="connsiteX3" fmla="*/ 466432 w 489189"/>
                <a:gd name="connsiteY3" fmla="*/ 411484 h 411694"/>
                <a:gd name="connsiteX4" fmla="*/ 22964 w 489189"/>
                <a:gd name="connsiteY4" fmla="*/ 411484 h 411694"/>
                <a:gd name="connsiteX5" fmla="*/ 103 w 489189"/>
                <a:gd name="connsiteY5" fmla="*/ 388574 h 411694"/>
                <a:gd name="connsiteX6" fmla="*/ 103 w 489189"/>
                <a:gd name="connsiteY6" fmla="*/ 22675 h 411694"/>
                <a:gd name="connsiteX7" fmla="*/ 22964 w 489189"/>
                <a:gd name="connsiteY7" fmla="*/ -211 h 41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189" h="411694">
                  <a:moveTo>
                    <a:pt x="466432" y="-211"/>
                  </a:moveTo>
                  <a:cubicBezTo>
                    <a:pt x="479049" y="-211"/>
                    <a:pt x="489293" y="10033"/>
                    <a:pt x="489293" y="22675"/>
                  </a:cubicBezTo>
                  <a:lnTo>
                    <a:pt x="489293" y="388574"/>
                  </a:lnTo>
                  <a:cubicBezTo>
                    <a:pt x="489293" y="401216"/>
                    <a:pt x="479049" y="411484"/>
                    <a:pt x="466432" y="411484"/>
                  </a:cubicBezTo>
                  <a:lnTo>
                    <a:pt x="22964" y="411484"/>
                  </a:lnTo>
                  <a:cubicBezTo>
                    <a:pt x="10323" y="411484"/>
                    <a:pt x="103" y="401216"/>
                    <a:pt x="103" y="388574"/>
                  </a:cubicBezTo>
                  <a:lnTo>
                    <a:pt x="103" y="22675"/>
                  </a:lnTo>
                  <a:cubicBezTo>
                    <a:pt x="103" y="10033"/>
                    <a:pt x="10323" y="-211"/>
                    <a:pt x="22964" y="-211"/>
                  </a:cubicBezTo>
                  <a:close/>
                </a:path>
              </a:pathLst>
            </a:custGeom>
            <a:gradFill>
              <a:gsLst>
                <a:gs pos="0">
                  <a:srgbClr val="5EA0EF"/>
                </a:gs>
                <a:gs pos="50000">
                  <a:srgbClr val="2F8CE1"/>
                </a:gs>
                <a:gs pos="100000">
                  <a:srgbClr val="0078D4"/>
                </a:gs>
              </a:gsLst>
              <a:lin ang="5400000" scaled="1"/>
            </a:gra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46" name="Freeform: Shape 245">
              <a:extLst>
                <a:ext uri="{FF2B5EF4-FFF2-40B4-BE49-F238E27FC236}">
                  <a16:creationId xmlns:a16="http://schemas.microsoft.com/office/drawing/2014/main" id="{C294174D-81BA-EF43-C434-51928038B728}"/>
                </a:ext>
              </a:extLst>
            </p:cNvPr>
            <p:cNvSpPr/>
            <p:nvPr/>
          </p:nvSpPr>
          <p:spPr>
            <a:xfrm>
              <a:off x="10886939" y="3867865"/>
              <a:ext cx="67808" cy="67808"/>
            </a:xfrm>
            <a:custGeom>
              <a:avLst/>
              <a:gdLst>
                <a:gd name="connsiteX0" fmla="*/ 67912 w 67808"/>
                <a:gd name="connsiteY0" fmla="*/ 33693 h 67808"/>
                <a:gd name="connsiteX1" fmla="*/ 34007 w 67808"/>
                <a:gd name="connsiteY1" fmla="*/ 67598 h 67808"/>
                <a:gd name="connsiteX2" fmla="*/ 103 w 67808"/>
                <a:gd name="connsiteY2" fmla="*/ 33693 h 67808"/>
                <a:gd name="connsiteX3" fmla="*/ 34007 w 67808"/>
                <a:gd name="connsiteY3" fmla="*/ -211 h 67808"/>
                <a:gd name="connsiteX4" fmla="*/ 67912 w 67808"/>
                <a:gd name="connsiteY4" fmla="*/ 33693 h 6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8" h="67808">
                  <a:moveTo>
                    <a:pt x="67912" y="33693"/>
                  </a:moveTo>
                  <a:cubicBezTo>
                    <a:pt x="67912" y="52437"/>
                    <a:pt x="52727" y="67598"/>
                    <a:pt x="34007" y="67598"/>
                  </a:cubicBezTo>
                  <a:cubicBezTo>
                    <a:pt x="15287" y="67598"/>
                    <a:pt x="103" y="52437"/>
                    <a:pt x="103" y="33693"/>
                  </a:cubicBezTo>
                  <a:cubicBezTo>
                    <a:pt x="103" y="14973"/>
                    <a:pt x="15287" y="-211"/>
                    <a:pt x="34007" y="-211"/>
                  </a:cubicBezTo>
                  <a:cubicBezTo>
                    <a:pt x="52727" y="-211"/>
                    <a:pt x="67912" y="14973"/>
                    <a:pt x="67912" y="33693"/>
                  </a:cubicBez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47" name="Freeform: Shape 246">
              <a:extLst>
                <a:ext uri="{FF2B5EF4-FFF2-40B4-BE49-F238E27FC236}">
                  <a16:creationId xmlns:a16="http://schemas.microsoft.com/office/drawing/2014/main" id="{DF98EE0F-A6C4-C351-1A10-511CB8E77E3B}"/>
                </a:ext>
              </a:extLst>
            </p:cNvPr>
            <p:cNvSpPr/>
            <p:nvPr/>
          </p:nvSpPr>
          <p:spPr>
            <a:xfrm>
              <a:off x="10981387" y="3930855"/>
              <a:ext cx="67808" cy="70230"/>
            </a:xfrm>
            <a:custGeom>
              <a:avLst/>
              <a:gdLst>
                <a:gd name="connsiteX0" fmla="*/ 67912 w 67808"/>
                <a:gd name="connsiteY0" fmla="*/ 34904 h 70230"/>
                <a:gd name="connsiteX1" fmla="*/ 34007 w 67808"/>
                <a:gd name="connsiteY1" fmla="*/ 70019 h 70230"/>
                <a:gd name="connsiteX2" fmla="*/ 103 w 67808"/>
                <a:gd name="connsiteY2" fmla="*/ 34904 h 70230"/>
                <a:gd name="connsiteX3" fmla="*/ 34007 w 67808"/>
                <a:gd name="connsiteY3" fmla="*/ -211 h 70230"/>
                <a:gd name="connsiteX4" fmla="*/ 67912 w 67808"/>
                <a:gd name="connsiteY4" fmla="*/ 34904 h 70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8" h="70230">
                  <a:moveTo>
                    <a:pt x="67912" y="34904"/>
                  </a:moveTo>
                  <a:cubicBezTo>
                    <a:pt x="67912" y="54302"/>
                    <a:pt x="52751" y="70019"/>
                    <a:pt x="34007" y="70019"/>
                  </a:cubicBezTo>
                  <a:cubicBezTo>
                    <a:pt x="15287" y="70019"/>
                    <a:pt x="103" y="54302"/>
                    <a:pt x="103" y="34904"/>
                  </a:cubicBezTo>
                  <a:cubicBezTo>
                    <a:pt x="103" y="15506"/>
                    <a:pt x="15287" y="-211"/>
                    <a:pt x="34007" y="-211"/>
                  </a:cubicBezTo>
                  <a:cubicBezTo>
                    <a:pt x="52751" y="-211"/>
                    <a:pt x="67912" y="15506"/>
                    <a:pt x="67912" y="34904"/>
                  </a:cubicBez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48" name="Freeform: Shape 247">
              <a:extLst>
                <a:ext uri="{FF2B5EF4-FFF2-40B4-BE49-F238E27FC236}">
                  <a16:creationId xmlns:a16="http://schemas.microsoft.com/office/drawing/2014/main" id="{336E5670-75AA-DB39-E548-D79B07D6ED21}"/>
                </a:ext>
              </a:extLst>
            </p:cNvPr>
            <p:cNvSpPr/>
            <p:nvPr/>
          </p:nvSpPr>
          <p:spPr>
            <a:xfrm>
              <a:off x="11070991" y="3809768"/>
              <a:ext cx="67808" cy="70230"/>
            </a:xfrm>
            <a:custGeom>
              <a:avLst/>
              <a:gdLst>
                <a:gd name="connsiteX0" fmla="*/ 67912 w 67808"/>
                <a:gd name="connsiteY0" fmla="*/ 34904 h 70230"/>
                <a:gd name="connsiteX1" fmla="*/ 34007 w 67808"/>
                <a:gd name="connsiteY1" fmla="*/ 70019 h 70230"/>
                <a:gd name="connsiteX2" fmla="*/ 103 w 67808"/>
                <a:gd name="connsiteY2" fmla="*/ 34904 h 70230"/>
                <a:gd name="connsiteX3" fmla="*/ 34007 w 67808"/>
                <a:gd name="connsiteY3" fmla="*/ -211 h 70230"/>
                <a:gd name="connsiteX4" fmla="*/ 67912 w 67808"/>
                <a:gd name="connsiteY4" fmla="*/ 34904 h 70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8" h="70230">
                  <a:moveTo>
                    <a:pt x="67912" y="34904"/>
                  </a:moveTo>
                  <a:cubicBezTo>
                    <a:pt x="67912" y="54302"/>
                    <a:pt x="52727" y="70019"/>
                    <a:pt x="34007" y="70019"/>
                  </a:cubicBezTo>
                  <a:cubicBezTo>
                    <a:pt x="15287" y="70019"/>
                    <a:pt x="103" y="54302"/>
                    <a:pt x="103" y="34904"/>
                  </a:cubicBezTo>
                  <a:cubicBezTo>
                    <a:pt x="103" y="15506"/>
                    <a:pt x="15287" y="-211"/>
                    <a:pt x="34007" y="-211"/>
                  </a:cubicBezTo>
                  <a:cubicBezTo>
                    <a:pt x="52727" y="-211"/>
                    <a:pt x="67912" y="15506"/>
                    <a:pt x="67912" y="34904"/>
                  </a:cubicBez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49" name="Freeform: Shape 248">
              <a:extLst>
                <a:ext uri="{FF2B5EF4-FFF2-40B4-BE49-F238E27FC236}">
                  <a16:creationId xmlns:a16="http://schemas.microsoft.com/office/drawing/2014/main" id="{0F0EF20B-4B13-1402-B0DC-9AF9FA82D08B}"/>
                </a:ext>
              </a:extLst>
            </p:cNvPr>
            <p:cNvSpPr/>
            <p:nvPr/>
          </p:nvSpPr>
          <p:spPr>
            <a:xfrm>
              <a:off x="10797335" y="3993796"/>
              <a:ext cx="67808" cy="67808"/>
            </a:xfrm>
            <a:custGeom>
              <a:avLst/>
              <a:gdLst>
                <a:gd name="connsiteX0" fmla="*/ 67912 w 67808"/>
                <a:gd name="connsiteY0" fmla="*/ 33693 h 67808"/>
                <a:gd name="connsiteX1" fmla="*/ 34007 w 67808"/>
                <a:gd name="connsiteY1" fmla="*/ 67598 h 67808"/>
                <a:gd name="connsiteX2" fmla="*/ 103 w 67808"/>
                <a:gd name="connsiteY2" fmla="*/ 33693 h 67808"/>
                <a:gd name="connsiteX3" fmla="*/ 34007 w 67808"/>
                <a:gd name="connsiteY3" fmla="*/ -211 h 67808"/>
                <a:gd name="connsiteX4" fmla="*/ 67912 w 67808"/>
                <a:gd name="connsiteY4" fmla="*/ 33693 h 6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8" h="67808">
                  <a:moveTo>
                    <a:pt x="67912" y="33693"/>
                  </a:moveTo>
                  <a:cubicBezTo>
                    <a:pt x="67912" y="52437"/>
                    <a:pt x="52751" y="67598"/>
                    <a:pt x="34007" y="67598"/>
                  </a:cubicBezTo>
                  <a:cubicBezTo>
                    <a:pt x="15287" y="67598"/>
                    <a:pt x="103" y="52437"/>
                    <a:pt x="103" y="33693"/>
                  </a:cubicBezTo>
                  <a:cubicBezTo>
                    <a:pt x="103" y="14973"/>
                    <a:pt x="15287" y="-211"/>
                    <a:pt x="34007" y="-211"/>
                  </a:cubicBezTo>
                  <a:cubicBezTo>
                    <a:pt x="52751" y="-211"/>
                    <a:pt x="67912" y="14973"/>
                    <a:pt x="67912" y="33693"/>
                  </a:cubicBez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0" name="Freeform: Shape 249">
              <a:extLst>
                <a:ext uri="{FF2B5EF4-FFF2-40B4-BE49-F238E27FC236}">
                  <a16:creationId xmlns:a16="http://schemas.microsoft.com/office/drawing/2014/main" id="{A916744F-4AED-3BB4-B9C2-3942F99BF57F}"/>
                </a:ext>
              </a:extLst>
            </p:cNvPr>
            <p:cNvSpPr/>
            <p:nvPr/>
          </p:nvSpPr>
          <p:spPr>
            <a:xfrm>
              <a:off x="10819131" y="3836407"/>
              <a:ext cx="297896" cy="201003"/>
            </a:xfrm>
            <a:custGeom>
              <a:avLst/>
              <a:gdLst>
                <a:gd name="connsiteX0" fmla="*/ 24708 w 297896"/>
                <a:gd name="connsiteY0" fmla="*/ 200793 h 201003"/>
                <a:gd name="connsiteX1" fmla="*/ 103 w 297896"/>
                <a:gd name="connsiteY1" fmla="*/ 183502 h 201003"/>
                <a:gd name="connsiteX2" fmla="*/ 96851 w 297896"/>
                <a:gd name="connsiteY2" fmla="*/ 45487 h 201003"/>
                <a:gd name="connsiteX3" fmla="*/ 191395 w 297896"/>
                <a:gd name="connsiteY3" fmla="*/ 109857 h 201003"/>
                <a:gd name="connsiteX4" fmla="*/ 274001 w 297896"/>
                <a:gd name="connsiteY4" fmla="*/ -211 h 201003"/>
                <a:gd name="connsiteX5" fmla="*/ 298000 w 297896"/>
                <a:gd name="connsiteY5" fmla="*/ 17879 h 201003"/>
                <a:gd name="connsiteX6" fmla="*/ 198225 w 297896"/>
                <a:gd name="connsiteY6" fmla="*/ 150881 h 201003"/>
                <a:gd name="connsiteX7" fmla="*/ 104431 w 297896"/>
                <a:gd name="connsiteY7" fmla="*/ 87044 h 201003"/>
                <a:gd name="connsiteX8" fmla="*/ 24708 w 297896"/>
                <a:gd name="connsiteY8" fmla="*/ 200793 h 20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896" h="201003">
                  <a:moveTo>
                    <a:pt x="24708" y="200793"/>
                  </a:moveTo>
                  <a:lnTo>
                    <a:pt x="103" y="183502"/>
                  </a:lnTo>
                  <a:lnTo>
                    <a:pt x="96851" y="45487"/>
                  </a:lnTo>
                  <a:lnTo>
                    <a:pt x="191395" y="109857"/>
                  </a:lnTo>
                  <a:lnTo>
                    <a:pt x="274001" y="-211"/>
                  </a:lnTo>
                  <a:lnTo>
                    <a:pt x="298000" y="17879"/>
                  </a:lnTo>
                  <a:lnTo>
                    <a:pt x="198225" y="150881"/>
                  </a:lnTo>
                  <a:lnTo>
                    <a:pt x="104431" y="87044"/>
                  </a:lnTo>
                  <a:lnTo>
                    <a:pt x="24708" y="200793"/>
                  </a:ln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1" name="Freeform: Shape 250">
              <a:extLst>
                <a:ext uri="{FF2B5EF4-FFF2-40B4-BE49-F238E27FC236}">
                  <a16:creationId xmlns:a16="http://schemas.microsoft.com/office/drawing/2014/main" id="{A5376C26-D17E-7DFC-6D0F-BFEBAACAFBE7}"/>
                </a:ext>
              </a:extLst>
            </p:cNvPr>
            <p:cNvSpPr/>
            <p:nvPr/>
          </p:nvSpPr>
          <p:spPr>
            <a:xfrm>
              <a:off x="10896650" y="4030122"/>
              <a:ext cx="360834" cy="225221"/>
            </a:xfrm>
            <a:custGeom>
              <a:avLst/>
              <a:gdLst>
                <a:gd name="connsiteX0" fmla="*/ 35364 w 360834"/>
                <a:gd name="connsiteY0" fmla="*/ 225010 h 225221"/>
                <a:gd name="connsiteX1" fmla="*/ 103 w 360834"/>
                <a:gd name="connsiteY1" fmla="*/ 190113 h 225221"/>
                <a:gd name="connsiteX2" fmla="*/ 180499 w 360834"/>
                <a:gd name="connsiteY2" fmla="*/ -211 h 225221"/>
                <a:gd name="connsiteX3" fmla="*/ 360893 w 360834"/>
                <a:gd name="connsiteY3" fmla="*/ 188248 h 225221"/>
                <a:gd name="connsiteX4" fmla="*/ 327376 w 360834"/>
                <a:gd name="connsiteY4" fmla="*/ 224962 h 225221"/>
                <a:gd name="connsiteX5" fmla="*/ 327353 w 360834"/>
                <a:gd name="connsiteY5" fmla="*/ 224962 h 225221"/>
                <a:gd name="connsiteX6" fmla="*/ 35340 w 360834"/>
                <a:gd name="connsiteY6" fmla="*/ 224962 h 22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834" h="225221">
                  <a:moveTo>
                    <a:pt x="35364" y="225010"/>
                  </a:moveTo>
                  <a:cubicBezTo>
                    <a:pt x="15918" y="225010"/>
                    <a:pt x="128" y="209390"/>
                    <a:pt x="103" y="190113"/>
                  </a:cubicBezTo>
                  <a:cubicBezTo>
                    <a:pt x="6134" y="73773"/>
                    <a:pt x="76775" y="-211"/>
                    <a:pt x="180499" y="-211"/>
                  </a:cubicBezTo>
                  <a:cubicBezTo>
                    <a:pt x="284222" y="-211"/>
                    <a:pt x="355347" y="73773"/>
                    <a:pt x="360893" y="188248"/>
                  </a:cubicBezTo>
                  <a:cubicBezTo>
                    <a:pt x="361862" y="207574"/>
                    <a:pt x="346847" y="223993"/>
                    <a:pt x="327376" y="224962"/>
                  </a:cubicBezTo>
                  <a:cubicBezTo>
                    <a:pt x="327376" y="224962"/>
                    <a:pt x="327353" y="224962"/>
                    <a:pt x="327353" y="224962"/>
                  </a:cubicBezTo>
                  <a:lnTo>
                    <a:pt x="35340" y="224962"/>
                  </a:lnTo>
                  <a:close/>
                </a:path>
              </a:pathLst>
            </a:custGeom>
            <a:solidFill>
              <a:srgbClr val="FFFF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2" name="Freeform: Shape 251">
              <a:extLst>
                <a:ext uri="{FF2B5EF4-FFF2-40B4-BE49-F238E27FC236}">
                  <a16:creationId xmlns:a16="http://schemas.microsoft.com/office/drawing/2014/main" id="{421D43F8-68E1-FC92-E0FA-DCF3B678592B}"/>
                </a:ext>
              </a:extLst>
            </p:cNvPr>
            <p:cNvSpPr/>
            <p:nvPr/>
          </p:nvSpPr>
          <p:spPr>
            <a:xfrm>
              <a:off x="10889361" y="4020459"/>
              <a:ext cx="375376" cy="244595"/>
            </a:xfrm>
            <a:custGeom>
              <a:avLst/>
              <a:gdLst>
                <a:gd name="connsiteX0" fmla="*/ 187714 w 375376"/>
                <a:gd name="connsiteY0" fmla="*/ 17129 h 244595"/>
                <a:gd name="connsiteX1" fmla="*/ 358157 w 375376"/>
                <a:gd name="connsiteY1" fmla="*/ 199098 h 244595"/>
                <a:gd name="connsiteX2" fmla="*/ 333115 w 375376"/>
                <a:gd name="connsiteY2" fmla="*/ 226996 h 244595"/>
                <a:gd name="connsiteX3" fmla="*/ 333115 w 375376"/>
                <a:gd name="connsiteY3" fmla="*/ 226996 h 244595"/>
                <a:gd name="connsiteX4" fmla="*/ 43694 w 375376"/>
                <a:gd name="connsiteY4" fmla="*/ 226996 h 244595"/>
                <a:gd name="connsiteX5" fmla="*/ 17273 w 375376"/>
                <a:gd name="connsiteY5" fmla="*/ 200454 h 244595"/>
                <a:gd name="connsiteX6" fmla="*/ 17273 w 375376"/>
                <a:gd name="connsiteY6" fmla="*/ 200430 h 244595"/>
                <a:gd name="connsiteX7" fmla="*/ 17273 w 375376"/>
                <a:gd name="connsiteY7" fmla="*/ 199049 h 244595"/>
                <a:gd name="connsiteX8" fmla="*/ 187714 w 375376"/>
                <a:gd name="connsiteY8" fmla="*/ 17129 h 244595"/>
                <a:gd name="connsiteX9" fmla="*/ 187714 w 375376"/>
                <a:gd name="connsiteY9" fmla="*/ -211 h 244595"/>
                <a:gd name="connsiteX10" fmla="*/ 103 w 375376"/>
                <a:gd name="connsiteY10" fmla="*/ 198202 h 244595"/>
                <a:gd name="connsiteX11" fmla="*/ 103 w 375376"/>
                <a:gd name="connsiteY11" fmla="*/ 200502 h 244595"/>
                <a:gd name="connsiteX12" fmla="*/ 43743 w 375376"/>
                <a:gd name="connsiteY12" fmla="*/ 244384 h 244595"/>
                <a:gd name="connsiteX13" fmla="*/ 332244 w 375376"/>
                <a:gd name="connsiteY13" fmla="*/ 244384 h 244595"/>
                <a:gd name="connsiteX14" fmla="*/ 334011 w 375376"/>
                <a:gd name="connsiteY14" fmla="*/ 244384 h 244595"/>
                <a:gd name="connsiteX15" fmla="*/ 375423 w 375376"/>
                <a:gd name="connsiteY15" fmla="*/ 198250 h 244595"/>
                <a:gd name="connsiteX16" fmla="*/ 375423 w 375376"/>
                <a:gd name="connsiteY16" fmla="*/ 198226 h 244595"/>
                <a:gd name="connsiteX17" fmla="*/ 187787 w 375376"/>
                <a:gd name="connsiteY17" fmla="*/ -211 h 24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5376" h="244595">
                  <a:moveTo>
                    <a:pt x="187714" y="17129"/>
                  </a:moveTo>
                  <a:cubicBezTo>
                    <a:pt x="290420" y="17129"/>
                    <a:pt x="353143" y="94067"/>
                    <a:pt x="358157" y="199098"/>
                  </a:cubicBezTo>
                  <a:cubicBezTo>
                    <a:pt x="358883" y="213773"/>
                    <a:pt x="347670" y="226245"/>
                    <a:pt x="333115" y="226996"/>
                  </a:cubicBezTo>
                  <a:cubicBezTo>
                    <a:pt x="333115" y="226996"/>
                    <a:pt x="333115" y="226996"/>
                    <a:pt x="333115" y="226996"/>
                  </a:cubicBezTo>
                  <a:lnTo>
                    <a:pt x="43694" y="226996"/>
                  </a:lnTo>
                  <a:cubicBezTo>
                    <a:pt x="29115" y="226996"/>
                    <a:pt x="17298" y="215130"/>
                    <a:pt x="17273" y="200454"/>
                  </a:cubicBezTo>
                  <a:cubicBezTo>
                    <a:pt x="17273" y="200454"/>
                    <a:pt x="17273" y="200430"/>
                    <a:pt x="17273" y="200430"/>
                  </a:cubicBezTo>
                  <a:cubicBezTo>
                    <a:pt x="17273" y="199970"/>
                    <a:pt x="17273" y="199534"/>
                    <a:pt x="17273" y="199049"/>
                  </a:cubicBezTo>
                  <a:cubicBezTo>
                    <a:pt x="22576" y="94091"/>
                    <a:pt x="85203" y="17129"/>
                    <a:pt x="187714" y="17129"/>
                  </a:cubicBezTo>
                  <a:moveTo>
                    <a:pt x="187714" y="-211"/>
                  </a:moveTo>
                  <a:cubicBezTo>
                    <a:pt x="79826" y="-211"/>
                    <a:pt x="6157" y="77672"/>
                    <a:pt x="103" y="198202"/>
                  </a:cubicBezTo>
                  <a:lnTo>
                    <a:pt x="103" y="200502"/>
                  </a:lnTo>
                  <a:cubicBezTo>
                    <a:pt x="175" y="224720"/>
                    <a:pt x="19694" y="244336"/>
                    <a:pt x="43743" y="244384"/>
                  </a:cubicBezTo>
                  <a:lnTo>
                    <a:pt x="332244" y="244384"/>
                  </a:lnTo>
                  <a:lnTo>
                    <a:pt x="334011" y="244384"/>
                  </a:lnTo>
                  <a:cubicBezTo>
                    <a:pt x="358083" y="243149"/>
                    <a:pt x="376634" y="222516"/>
                    <a:pt x="375423" y="198250"/>
                  </a:cubicBezTo>
                  <a:cubicBezTo>
                    <a:pt x="375423" y="198250"/>
                    <a:pt x="375423" y="198226"/>
                    <a:pt x="375423" y="198226"/>
                  </a:cubicBezTo>
                  <a:cubicBezTo>
                    <a:pt x="369757" y="79561"/>
                    <a:pt x="294344" y="-211"/>
                    <a:pt x="187787" y="-211"/>
                  </a:cubicBezTo>
                  <a:close/>
                </a:path>
              </a:pathLst>
            </a:custGeom>
            <a:solidFill>
              <a:srgbClr val="0078D4"/>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3" name="Freeform: Shape 252">
              <a:extLst>
                <a:ext uri="{FF2B5EF4-FFF2-40B4-BE49-F238E27FC236}">
                  <a16:creationId xmlns:a16="http://schemas.microsoft.com/office/drawing/2014/main" id="{161ACB5F-3308-6137-C203-F4B5BFCB5FF8}"/>
                </a:ext>
              </a:extLst>
            </p:cNvPr>
            <p:cNvSpPr/>
            <p:nvPr/>
          </p:nvSpPr>
          <p:spPr>
            <a:xfrm>
              <a:off x="11085497" y="4080978"/>
              <a:ext cx="70230" cy="67808"/>
            </a:xfrm>
            <a:custGeom>
              <a:avLst/>
              <a:gdLst>
                <a:gd name="connsiteX0" fmla="*/ 70333 w 70230"/>
                <a:gd name="connsiteY0" fmla="*/ 29383 h 67808"/>
                <a:gd name="connsiteX1" fmla="*/ 103 w 70230"/>
                <a:gd name="connsiteY1" fmla="*/ -211 h 67808"/>
                <a:gd name="connsiteX2" fmla="*/ 103 w 70230"/>
                <a:gd name="connsiteY2" fmla="*/ 53818 h 67808"/>
                <a:gd name="connsiteX3" fmla="*/ 32724 w 70230"/>
                <a:gd name="connsiteY3" fmla="*/ 67598 h 67808"/>
              </a:gdLst>
              <a:ahLst/>
              <a:cxnLst>
                <a:cxn ang="0">
                  <a:pos x="connsiteX0" y="connsiteY0"/>
                </a:cxn>
                <a:cxn ang="0">
                  <a:pos x="connsiteX1" y="connsiteY1"/>
                </a:cxn>
                <a:cxn ang="0">
                  <a:pos x="connsiteX2" y="connsiteY2"/>
                </a:cxn>
                <a:cxn ang="0">
                  <a:pos x="connsiteX3" y="connsiteY3"/>
                </a:cxn>
              </a:cxnLst>
              <a:rect l="l" t="t" r="r" b="b"/>
              <a:pathLst>
                <a:path w="70230" h="67808">
                  <a:moveTo>
                    <a:pt x="70333" y="29383"/>
                  </a:moveTo>
                  <a:cubicBezTo>
                    <a:pt x="50887" y="12067"/>
                    <a:pt x="26185" y="1654"/>
                    <a:pt x="103" y="-211"/>
                  </a:cubicBezTo>
                  <a:lnTo>
                    <a:pt x="103" y="53818"/>
                  </a:lnTo>
                  <a:cubicBezTo>
                    <a:pt x="12043" y="55368"/>
                    <a:pt x="23328" y="60114"/>
                    <a:pt x="32724" y="67598"/>
                  </a:cubicBezTo>
                  <a:close/>
                </a:path>
              </a:pathLst>
            </a:custGeom>
            <a:solidFill>
              <a:srgbClr val="50E6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4" name="Freeform: Shape 253">
              <a:extLst>
                <a:ext uri="{FF2B5EF4-FFF2-40B4-BE49-F238E27FC236}">
                  <a16:creationId xmlns:a16="http://schemas.microsoft.com/office/drawing/2014/main" id="{A74B991A-C14B-9850-5F84-BBDB5B164C1C}"/>
                </a:ext>
              </a:extLst>
            </p:cNvPr>
            <p:cNvSpPr/>
            <p:nvPr/>
          </p:nvSpPr>
          <p:spPr>
            <a:xfrm>
              <a:off x="10995966" y="4080978"/>
              <a:ext cx="72652" cy="67808"/>
            </a:xfrm>
            <a:custGeom>
              <a:avLst/>
              <a:gdLst>
                <a:gd name="connsiteX0" fmla="*/ 103 w 72652"/>
                <a:gd name="connsiteY0" fmla="*/ 29383 h 67808"/>
                <a:gd name="connsiteX1" fmla="*/ 39020 w 72652"/>
                <a:gd name="connsiteY1" fmla="*/ 67598 h 67808"/>
                <a:gd name="connsiteX2" fmla="*/ 72755 w 72652"/>
                <a:gd name="connsiteY2" fmla="*/ 53818 h 67808"/>
                <a:gd name="connsiteX3" fmla="*/ 72755 w 72652"/>
                <a:gd name="connsiteY3" fmla="*/ -211 h 67808"/>
                <a:gd name="connsiteX4" fmla="*/ 103 w 72652"/>
                <a:gd name="connsiteY4" fmla="*/ 29383 h 6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52" h="67808">
                  <a:moveTo>
                    <a:pt x="103" y="29383"/>
                  </a:moveTo>
                  <a:lnTo>
                    <a:pt x="39020" y="67598"/>
                  </a:lnTo>
                  <a:cubicBezTo>
                    <a:pt x="48732" y="60114"/>
                    <a:pt x="60404" y="55368"/>
                    <a:pt x="72755" y="53818"/>
                  </a:cubicBezTo>
                  <a:lnTo>
                    <a:pt x="72755" y="-211"/>
                  </a:lnTo>
                  <a:cubicBezTo>
                    <a:pt x="45777" y="1654"/>
                    <a:pt x="20203" y="12067"/>
                    <a:pt x="103" y="29383"/>
                  </a:cubicBezTo>
                  <a:close/>
                </a:path>
              </a:pathLst>
            </a:custGeom>
            <a:solidFill>
              <a:srgbClr val="50E6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5" name="Freeform: Shape 254">
              <a:extLst>
                <a:ext uri="{FF2B5EF4-FFF2-40B4-BE49-F238E27FC236}">
                  <a16:creationId xmlns:a16="http://schemas.microsoft.com/office/drawing/2014/main" id="{27BFE74A-DCA0-F127-9A9E-2B9545344130}"/>
                </a:ext>
              </a:extLst>
            </p:cNvPr>
            <p:cNvSpPr/>
            <p:nvPr/>
          </p:nvSpPr>
          <p:spPr>
            <a:xfrm>
              <a:off x="11129113" y="4122172"/>
              <a:ext cx="67808" cy="75073"/>
            </a:xfrm>
            <a:custGeom>
              <a:avLst/>
              <a:gdLst>
                <a:gd name="connsiteX0" fmla="*/ 103 w 67808"/>
                <a:gd name="connsiteY0" fmla="*/ 39990 h 75073"/>
                <a:gd name="connsiteX1" fmla="*/ 13955 w 67808"/>
                <a:gd name="connsiteY1" fmla="*/ 74863 h 75073"/>
                <a:gd name="connsiteX2" fmla="*/ 67912 w 67808"/>
                <a:gd name="connsiteY2" fmla="*/ 74863 h 75073"/>
                <a:gd name="connsiteX3" fmla="*/ 38342 w 67808"/>
                <a:gd name="connsiteY3" fmla="*/ -211 h 75073"/>
              </a:gdLst>
              <a:ahLst/>
              <a:cxnLst>
                <a:cxn ang="0">
                  <a:pos x="connsiteX0" y="connsiteY0"/>
                </a:cxn>
                <a:cxn ang="0">
                  <a:pos x="connsiteX1" y="connsiteY1"/>
                </a:cxn>
                <a:cxn ang="0">
                  <a:pos x="connsiteX2" y="connsiteY2"/>
                </a:cxn>
                <a:cxn ang="0">
                  <a:pos x="connsiteX3" y="connsiteY3"/>
                </a:cxn>
              </a:cxnLst>
              <a:rect l="l" t="t" r="r" b="b"/>
              <a:pathLst>
                <a:path w="67808" h="75073">
                  <a:moveTo>
                    <a:pt x="103" y="39990"/>
                  </a:moveTo>
                  <a:cubicBezTo>
                    <a:pt x="7659" y="50161"/>
                    <a:pt x="12429" y="62197"/>
                    <a:pt x="13955" y="74863"/>
                  </a:cubicBezTo>
                  <a:lnTo>
                    <a:pt x="67912" y="74863"/>
                  </a:lnTo>
                  <a:cubicBezTo>
                    <a:pt x="66119" y="47255"/>
                    <a:pt x="55754" y="20955"/>
                    <a:pt x="38342" y="-211"/>
                  </a:cubicBezTo>
                  <a:close/>
                </a:path>
              </a:pathLst>
            </a:custGeom>
            <a:solidFill>
              <a:srgbClr val="32BEDD"/>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6" name="Freeform: Shape 255">
              <a:extLst>
                <a:ext uri="{FF2B5EF4-FFF2-40B4-BE49-F238E27FC236}">
                  <a16:creationId xmlns:a16="http://schemas.microsoft.com/office/drawing/2014/main" id="{78A5074C-0394-4438-B404-465FBD9BB694}"/>
                </a:ext>
              </a:extLst>
            </p:cNvPr>
            <p:cNvSpPr/>
            <p:nvPr/>
          </p:nvSpPr>
          <p:spPr>
            <a:xfrm>
              <a:off x="10954748" y="4122172"/>
              <a:ext cx="67808" cy="75073"/>
            </a:xfrm>
            <a:custGeom>
              <a:avLst/>
              <a:gdLst>
                <a:gd name="connsiteX0" fmla="*/ 67912 w 67808"/>
                <a:gd name="connsiteY0" fmla="*/ 39990 h 75073"/>
                <a:gd name="connsiteX1" fmla="*/ 29672 w 67808"/>
                <a:gd name="connsiteY1" fmla="*/ -211 h 75073"/>
                <a:gd name="connsiteX2" fmla="*/ 103 w 67808"/>
                <a:gd name="connsiteY2" fmla="*/ 74863 h 75073"/>
                <a:gd name="connsiteX3" fmla="*/ 54059 w 67808"/>
                <a:gd name="connsiteY3" fmla="*/ 74863 h 75073"/>
                <a:gd name="connsiteX4" fmla="*/ 67912 w 67808"/>
                <a:gd name="connsiteY4" fmla="*/ 39990 h 75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8" h="75073">
                  <a:moveTo>
                    <a:pt x="67912" y="39990"/>
                  </a:moveTo>
                  <a:lnTo>
                    <a:pt x="29672" y="-211"/>
                  </a:lnTo>
                  <a:cubicBezTo>
                    <a:pt x="12235" y="20931"/>
                    <a:pt x="1894" y="47255"/>
                    <a:pt x="103" y="74863"/>
                  </a:cubicBezTo>
                  <a:lnTo>
                    <a:pt x="54059" y="74863"/>
                  </a:lnTo>
                  <a:cubicBezTo>
                    <a:pt x="55585" y="62197"/>
                    <a:pt x="60380" y="50161"/>
                    <a:pt x="67912" y="39990"/>
                  </a:cubicBezTo>
                  <a:close/>
                </a:path>
              </a:pathLst>
            </a:custGeom>
            <a:solidFill>
              <a:srgbClr val="50E6F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7" name="Freeform: Shape 256">
              <a:extLst>
                <a:ext uri="{FF2B5EF4-FFF2-40B4-BE49-F238E27FC236}">
                  <a16:creationId xmlns:a16="http://schemas.microsoft.com/office/drawing/2014/main" id="{9503BB06-E34D-14FE-FB1B-F69374ABF9DE}"/>
                </a:ext>
              </a:extLst>
            </p:cNvPr>
            <p:cNvSpPr/>
            <p:nvPr/>
          </p:nvSpPr>
          <p:spPr>
            <a:xfrm>
              <a:off x="11068618" y="4141546"/>
              <a:ext cx="101712" cy="62965"/>
            </a:xfrm>
            <a:custGeom>
              <a:avLst/>
              <a:gdLst>
                <a:gd name="connsiteX0" fmla="*/ 100677 w 101712"/>
                <a:gd name="connsiteY0" fmla="*/ 6885 h 62965"/>
                <a:gd name="connsiteX1" fmla="*/ 89610 w 101712"/>
                <a:gd name="connsiteY1" fmla="*/ -211 h 62965"/>
                <a:gd name="connsiteX2" fmla="*/ 84524 w 101712"/>
                <a:gd name="connsiteY2" fmla="*/ 951 h 62965"/>
                <a:gd name="connsiteX3" fmla="*/ 103 w 101712"/>
                <a:gd name="connsiteY3" fmla="*/ 40595 h 62965"/>
                <a:gd name="connsiteX4" fmla="*/ 10274 w 101712"/>
                <a:gd name="connsiteY4" fmla="*/ 62754 h 62965"/>
                <a:gd name="connsiteX5" fmla="*/ 94793 w 101712"/>
                <a:gd name="connsiteY5" fmla="*/ 23086 h 62965"/>
                <a:gd name="connsiteX6" fmla="*/ 100677 w 101712"/>
                <a:gd name="connsiteY6" fmla="*/ 6885 h 6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12" h="62965">
                  <a:moveTo>
                    <a:pt x="100677" y="6885"/>
                  </a:moveTo>
                  <a:cubicBezTo>
                    <a:pt x="98692" y="2574"/>
                    <a:pt x="94357" y="-211"/>
                    <a:pt x="89610" y="-211"/>
                  </a:cubicBezTo>
                  <a:cubicBezTo>
                    <a:pt x="87842" y="-211"/>
                    <a:pt x="86123" y="177"/>
                    <a:pt x="84524" y="951"/>
                  </a:cubicBezTo>
                  <a:lnTo>
                    <a:pt x="103" y="40595"/>
                  </a:lnTo>
                  <a:lnTo>
                    <a:pt x="10274" y="62754"/>
                  </a:lnTo>
                  <a:lnTo>
                    <a:pt x="94793" y="23086"/>
                  </a:lnTo>
                  <a:cubicBezTo>
                    <a:pt x="100871" y="20229"/>
                    <a:pt x="103510" y="12988"/>
                    <a:pt x="100677" y="6885"/>
                  </a:cubicBezTo>
                  <a:close/>
                </a:path>
              </a:pathLst>
            </a:custGeom>
            <a:solidFill>
              <a:srgbClr val="E62323"/>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sp>
          <p:nvSpPr>
            <p:cNvPr id="258" name="Freeform: Shape 257">
              <a:extLst>
                <a:ext uri="{FF2B5EF4-FFF2-40B4-BE49-F238E27FC236}">
                  <a16:creationId xmlns:a16="http://schemas.microsoft.com/office/drawing/2014/main" id="{2772452E-04AF-1D70-B479-15ACDF083EF1}"/>
                </a:ext>
              </a:extLst>
            </p:cNvPr>
            <p:cNvSpPr/>
            <p:nvPr/>
          </p:nvSpPr>
          <p:spPr>
            <a:xfrm>
              <a:off x="11049147" y="4163317"/>
              <a:ext cx="55699" cy="55699"/>
            </a:xfrm>
            <a:custGeom>
              <a:avLst/>
              <a:gdLst>
                <a:gd name="connsiteX0" fmla="*/ 55803 w 55699"/>
                <a:gd name="connsiteY0" fmla="*/ 27639 h 55699"/>
                <a:gd name="connsiteX1" fmla="*/ 27953 w 55699"/>
                <a:gd name="connsiteY1" fmla="*/ 55489 h 55699"/>
                <a:gd name="connsiteX2" fmla="*/ 103 w 55699"/>
                <a:gd name="connsiteY2" fmla="*/ 27639 h 55699"/>
                <a:gd name="connsiteX3" fmla="*/ 27953 w 55699"/>
                <a:gd name="connsiteY3" fmla="*/ -211 h 55699"/>
                <a:gd name="connsiteX4" fmla="*/ 55803 w 55699"/>
                <a:gd name="connsiteY4" fmla="*/ 27639 h 5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9" h="55699">
                  <a:moveTo>
                    <a:pt x="55803" y="27639"/>
                  </a:moveTo>
                  <a:cubicBezTo>
                    <a:pt x="55803" y="43017"/>
                    <a:pt x="43331" y="55489"/>
                    <a:pt x="27953" y="55489"/>
                  </a:cubicBezTo>
                  <a:cubicBezTo>
                    <a:pt x="12575" y="55489"/>
                    <a:pt x="103" y="43017"/>
                    <a:pt x="103" y="27639"/>
                  </a:cubicBezTo>
                  <a:cubicBezTo>
                    <a:pt x="103" y="12261"/>
                    <a:pt x="12575" y="-211"/>
                    <a:pt x="27953" y="-211"/>
                  </a:cubicBezTo>
                  <a:cubicBezTo>
                    <a:pt x="43331" y="-211"/>
                    <a:pt x="55803" y="12261"/>
                    <a:pt x="55803" y="27639"/>
                  </a:cubicBezTo>
                  <a:close/>
                </a:path>
              </a:pathLst>
            </a:custGeom>
            <a:solidFill>
              <a:srgbClr val="4F4F4F"/>
            </a:solidFill>
            <a:ln w="24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FFFFFF"/>
                </a:solidFill>
                <a:effectLst/>
                <a:uLnTx/>
                <a:uFillTx/>
                <a:latin typeface="Segoe Sans Text"/>
                <a:ea typeface="+mn-ea"/>
                <a:cs typeface="+mn-cs"/>
              </a:endParaRPr>
            </a:p>
          </p:txBody>
        </p:sp>
      </p:grpSp>
      <p:pic>
        <p:nvPicPr>
          <p:cNvPr id="259" name="Graphic 258">
            <a:extLst>
              <a:ext uri="{FF2B5EF4-FFF2-40B4-BE49-F238E27FC236}">
                <a16:creationId xmlns:a16="http://schemas.microsoft.com/office/drawing/2014/main" id="{DF37A12B-3AC7-0534-0669-1886D4C56EC7}"/>
              </a:ext>
              <a:ext uri="{C183D7F6-B498-43B3-948B-1728B52AA6E4}">
                <adec:decorative xmlns:adec="http://schemas.microsoft.com/office/drawing/2017/decorative" val="1"/>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3480191" y="5179555"/>
            <a:ext cx="208115" cy="208115"/>
          </a:xfrm>
          <a:prstGeom prst="rect">
            <a:avLst/>
          </a:prstGeom>
        </p:spPr>
      </p:pic>
      <p:pic>
        <p:nvPicPr>
          <p:cNvPr id="260" name="Graphic 259">
            <a:extLst>
              <a:ext uri="{FF2B5EF4-FFF2-40B4-BE49-F238E27FC236}">
                <a16:creationId xmlns:a16="http://schemas.microsoft.com/office/drawing/2014/main" id="{EB9A11ED-0E9E-4100-6AF4-429A89123247}"/>
              </a:ext>
              <a:ext uri="{C183D7F6-B498-43B3-948B-1728B52AA6E4}">
                <adec:decorative xmlns:adec="http://schemas.microsoft.com/office/drawing/2017/decorative" val="1"/>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5088898" y="5176505"/>
            <a:ext cx="214214" cy="214214"/>
          </a:xfrm>
          <a:prstGeom prst="rect">
            <a:avLst/>
          </a:prstGeom>
        </p:spPr>
      </p:pic>
      <p:pic>
        <p:nvPicPr>
          <p:cNvPr id="261" name="Picture 260">
            <a:extLst>
              <a:ext uri="{FF2B5EF4-FFF2-40B4-BE49-F238E27FC236}">
                <a16:creationId xmlns:a16="http://schemas.microsoft.com/office/drawing/2014/main" id="{5C4D08A2-3CAD-197B-3339-150CBC539A0A}"/>
              </a:ext>
              <a:ext uri="{C183D7F6-B498-43B3-948B-1728B52AA6E4}">
                <adec:decorative xmlns:adec="http://schemas.microsoft.com/office/drawing/2017/decorative" val="1"/>
              </a:ext>
            </a:extLst>
          </p:cNvPr>
          <p:cNvPicPr>
            <a:picLocks noChangeAspect="1" noChangeArrowheads="1"/>
          </p:cNvPicPr>
          <p:nvPr/>
        </p:nvPicPr>
        <p:blipFill>
          <a:blip r:embed="rId8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143" y="5143314"/>
            <a:ext cx="280597" cy="280597"/>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261">
            <a:extLst>
              <a:ext uri="{FF2B5EF4-FFF2-40B4-BE49-F238E27FC236}">
                <a16:creationId xmlns:a16="http://schemas.microsoft.com/office/drawing/2014/main" id="{1D1B6F0A-2D66-BA51-9EDE-DD219063164E}"/>
              </a:ext>
              <a:ext uri="{C183D7F6-B498-43B3-948B-1728B52AA6E4}">
                <adec:decorative xmlns:adec="http://schemas.microsoft.com/office/drawing/2017/decorative" val="1"/>
              </a:ext>
            </a:extLst>
          </p:cNvPr>
          <p:cNvPicPr>
            <a:picLocks noChangeAspect="1" noChangeArrowheads="1"/>
          </p:cNvPicPr>
          <p:nvPr/>
        </p:nvPicPr>
        <p:blipFill>
          <a:blip r:embed="rId9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81844" y="5121262"/>
            <a:ext cx="324701" cy="324701"/>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62">
            <a:extLst>
              <a:ext uri="{FF2B5EF4-FFF2-40B4-BE49-F238E27FC236}">
                <a16:creationId xmlns:a16="http://schemas.microsoft.com/office/drawing/2014/main" id="{C874EDCD-2A09-7E69-F30C-9B0D9BB69349}"/>
              </a:ext>
              <a:ext uri="{C183D7F6-B498-43B3-948B-1728B52AA6E4}">
                <adec:decorative xmlns:adec="http://schemas.microsoft.com/office/drawing/2017/decorative" val="1"/>
              </a:ext>
            </a:extLst>
          </p:cNvPr>
          <p:cNvPicPr>
            <a:picLocks noChangeAspect="1"/>
          </p:cNvPicPr>
          <p:nvPr/>
        </p:nvPicPr>
        <p:blipFill>
          <a:blip r:embed="rId91"/>
          <a:srcRect l="23704" t="-3213" r="25474" b="-7"/>
          <a:stretch/>
        </p:blipFill>
        <p:spPr>
          <a:xfrm>
            <a:off x="9931815" y="5161257"/>
            <a:ext cx="234494" cy="244711"/>
          </a:xfrm>
          <a:custGeom>
            <a:avLst/>
            <a:gdLst>
              <a:gd name="connsiteX0" fmla="*/ 3595 w 1051032"/>
              <a:gd name="connsiteY0" fmla="*/ 1161 h 540044"/>
              <a:gd name="connsiteX1" fmla="*/ 1054627 w 1051032"/>
              <a:gd name="connsiteY1" fmla="*/ 1161 h 540044"/>
              <a:gd name="connsiteX2" fmla="*/ 1054627 w 1051032"/>
              <a:gd name="connsiteY2" fmla="*/ 541206 h 540044"/>
              <a:gd name="connsiteX3" fmla="*/ 3595 w 1051032"/>
              <a:gd name="connsiteY3" fmla="*/ 541206 h 540044"/>
            </a:gdLst>
            <a:ahLst/>
            <a:cxnLst>
              <a:cxn ang="0">
                <a:pos x="connsiteX0" y="connsiteY0"/>
              </a:cxn>
              <a:cxn ang="0">
                <a:pos x="connsiteX1" y="connsiteY1"/>
              </a:cxn>
              <a:cxn ang="0">
                <a:pos x="connsiteX2" y="connsiteY2"/>
              </a:cxn>
              <a:cxn ang="0">
                <a:pos x="connsiteX3" y="connsiteY3"/>
              </a:cxn>
            </a:cxnLst>
            <a:rect l="l" t="t" r="r" b="b"/>
            <a:pathLst>
              <a:path w="1051032" h="540044">
                <a:moveTo>
                  <a:pt x="3595" y="1161"/>
                </a:moveTo>
                <a:lnTo>
                  <a:pt x="1054627" y="1161"/>
                </a:lnTo>
                <a:lnTo>
                  <a:pt x="1054627" y="541206"/>
                </a:lnTo>
                <a:lnTo>
                  <a:pt x="3595" y="541206"/>
                </a:lnTo>
                <a:close/>
              </a:path>
            </a:pathLst>
          </a:custGeom>
          <a:effectLst/>
        </p:spPr>
      </p:pic>
      <p:pic>
        <p:nvPicPr>
          <p:cNvPr id="264" name="Graphic 263">
            <a:extLst>
              <a:ext uri="{FF2B5EF4-FFF2-40B4-BE49-F238E27FC236}">
                <a16:creationId xmlns:a16="http://schemas.microsoft.com/office/drawing/2014/main" id="{18F7DD37-0079-99EE-76ED-52EA82CDD251}"/>
              </a:ext>
              <a:ext uri="{C183D7F6-B498-43B3-948B-1728B52AA6E4}">
                <adec:decorative xmlns:adec="http://schemas.microsoft.com/office/drawing/2017/decorative" val="1"/>
              </a:ext>
            </a:extLst>
          </p:cNvPr>
          <p:cNvPicPr>
            <a:picLocks noChangeAspect="1"/>
          </p:cNvPicPr>
          <p:nvPr/>
        </p:nvPicPr>
        <p:blipFill>
          <a:blip r:embed="rId92">
            <a:extLst>
              <a:ext uri="{96DAC541-7B7A-43D3-8B79-37D633B846F1}">
                <asvg:svgBlip xmlns:asvg="http://schemas.microsoft.com/office/drawing/2016/SVG/main" r:embed="rId93"/>
              </a:ext>
            </a:extLst>
          </a:blip>
          <a:stretch>
            <a:fillRect/>
          </a:stretch>
        </p:blipFill>
        <p:spPr>
          <a:xfrm>
            <a:off x="1829216" y="4435940"/>
            <a:ext cx="223242" cy="214785"/>
          </a:xfrm>
          <a:prstGeom prst="rect">
            <a:avLst/>
          </a:prstGeom>
        </p:spPr>
      </p:pic>
      <p:pic>
        <p:nvPicPr>
          <p:cNvPr id="265" name="Picture 2">
            <a:extLst>
              <a:ext uri="{FF2B5EF4-FFF2-40B4-BE49-F238E27FC236}">
                <a16:creationId xmlns:a16="http://schemas.microsoft.com/office/drawing/2014/main" id="{5DA3472F-D85A-BBE9-B870-33267822FF43}"/>
              </a:ext>
              <a:ext uri="{C183D7F6-B498-43B3-948B-1728B52AA6E4}">
                <adec:decorative xmlns:adec="http://schemas.microsoft.com/office/drawing/2017/decorative" val="1"/>
              </a:ext>
            </a:extLst>
          </p:cNvPr>
          <p:cNvPicPr>
            <a:picLocks noChangeAspect="1" noChangeArrowheads="1"/>
          </p:cNvPicPr>
          <p:nvPr/>
        </p:nvPicPr>
        <p:blipFill>
          <a:blip r:embed="rId94"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0444962" y="3378691"/>
            <a:ext cx="194240" cy="194240"/>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8DFD103E-1E96-D9D9-839D-86B67C1B6B9C}"/>
              </a:ext>
              <a:ext uri="{C183D7F6-B498-43B3-948B-1728B52AA6E4}">
                <adec:decorative xmlns:adec="http://schemas.microsoft.com/office/drawing/2017/decorative" val="1"/>
              </a:ext>
            </a:extLst>
          </p:cNvPr>
          <p:cNvCxnSpPr>
            <a:cxnSpLocks/>
          </p:cNvCxnSpPr>
          <p:nvPr/>
        </p:nvCxnSpPr>
        <p:spPr>
          <a:xfrm>
            <a:off x="9337909" y="2668340"/>
            <a:ext cx="0" cy="2064473"/>
          </a:xfrm>
          <a:prstGeom prst="straightConnector1">
            <a:avLst/>
          </a:prstGeom>
          <a:noFill/>
          <a:ln w="12700" cap="rnd">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67" name="Picture 2">
            <a:extLst>
              <a:ext uri="{FF2B5EF4-FFF2-40B4-BE49-F238E27FC236}">
                <a16:creationId xmlns:a16="http://schemas.microsoft.com/office/drawing/2014/main" id="{8C327DF8-05D8-44ED-CBBD-F89FCE08806C}"/>
              </a:ext>
              <a:ext uri="{C183D7F6-B498-43B3-948B-1728B52AA6E4}">
                <adec:decorative xmlns:adec="http://schemas.microsoft.com/office/drawing/2017/decorative" val="1"/>
              </a:ext>
            </a:extLst>
          </p:cNvPr>
          <p:cNvPicPr>
            <a:picLocks noChangeAspect="1" noChangeArrowheads="1"/>
          </p:cNvPicPr>
          <p:nvPr/>
        </p:nvPicPr>
        <p:blipFill>
          <a:blip r:embed="rId95" cstate="print">
            <a:extLst>
              <a:ext uri="{28A0092B-C50C-407E-A947-70E740481C1C}">
                <a14:useLocalDpi xmlns:a14="http://schemas.microsoft.com/office/drawing/2010/main" val="0"/>
              </a:ext>
            </a:extLst>
          </a:blip>
          <a:srcRect/>
          <a:stretch>
            <a:fillRect/>
          </a:stretch>
        </p:blipFill>
        <p:spPr bwMode="auto">
          <a:xfrm>
            <a:off x="7187082" y="2048720"/>
            <a:ext cx="254000" cy="90488"/>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267">
            <a:extLst>
              <a:ext uri="{FF2B5EF4-FFF2-40B4-BE49-F238E27FC236}">
                <a16:creationId xmlns:a16="http://schemas.microsoft.com/office/drawing/2014/main" id="{F62CFE4F-B2A3-C563-1C9A-B90A61B25197}"/>
              </a:ext>
              <a:ext uri="{C183D7F6-B498-43B3-948B-1728B52AA6E4}">
                <adec:decorative xmlns:adec="http://schemas.microsoft.com/office/drawing/2017/decorative" val="1"/>
              </a:ext>
            </a:extLst>
          </p:cNvPr>
          <p:cNvPicPr>
            <a:picLocks noChangeAspect="1"/>
          </p:cNvPicPr>
          <p:nvPr/>
        </p:nvPicPr>
        <p:blipFill>
          <a:blip r:embed="rId96" cstate="print">
            <a:biLevel thresh="75000"/>
            <a:extLst>
              <a:ext uri="{BEBA8EAE-BF5A-486C-A8C5-ECC9F3942E4B}">
                <a14:imgProps xmlns:a14="http://schemas.microsoft.com/office/drawing/2010/main">
                  <a14:imgLayer r:embed="rId9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91139" y="1996372"/>
            <a:ext cx="195184" cy="195184"/>
          </a:xfrm>
          <a:prstGeom prst="rect">
            <a:avLst/>
          </a:prstGeom>
        </p:spPr>
      </p:pic>
      <p:pic>
        <p:nvPicPr>
          <p:cNvPr id="269" name="Picture 268">
            <a:extLst>
              <a:ext uri="{FF2B5EF4-FFF2-40B4-BE49-F238E27FC236}">
                <a16:creationId xmlns:a16="http://schemas.microsoft.com/office/drawing/2014/main" id="{21AD02F7-670E-EEFF-842F-237C24E627F2}"/>
              </a:ext>
              <a:ext uri="{C183D7F6-B498-43B3-948B-1728B52AA6E4}">
                <adec:decorative xmlns:adec="http://schemas.microsoft.com/office/drawing/2017/decorative" val="1"/>
              </a:ext>
            </a:extLst>
          </p:cNvPr>
          <p:cNvPicPr>
            <a:picLocks noChangeAspect="1"/>
          </p:cNvPicPr>
          <p:nvPr/>
        </p:nvPicPr>
        <p:blipFill>
          <a:blip r:embed="rId98" cstate="print">
            <a:biLevel thresh="75000"/>
            <a:extLst>
              <a:ext uri="{BEBA8EAE-BF5A-486C-A8C5-ECC9F3942E4B}">
                <a14:imgProps xmlns:a14="http://schemas.microsoft.com/office/drawing/2010/main">
                  <a14:imgLayer r:embed="rId9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142299" y="2038316"/>
            <a:ext cx="194268" cy="111297"/>
          </a:xfrm>
          <a:prstGeom prst="rect">
            <a:avLst/>
          </a:prstGeom>
        </p:spPr>
      </p:pic>
      <p:pic>
        <p:nvPicPr>
          <p:cNvPr id="270" name="Picture 269">
            <a:extLst>
              <a:ext uri="{FF2B5EF4-FFF2-40B4-BE49-F238E27FC236}">
                <a16:creationId xmlns:a16="http://schemas.microsoft.com/office/drawing/2014/main" id="{65BB16AA-E0D5-3A34-5E91-139A9B15332A}"/>
              </a:ext>
              <a:ext uri="{C183D7F6-B498-43B3-948B-1728B52AA6E4}">
                <adec:decorative xmlns:adec="http://schemas.microsoft.com/office/drawing/2017/decorative" val="1"/>
              </a:ext>
            </a:extLst>
          </p:cNvPr>
          <p:cNvPicPr>
            <a:picLocks noChangeAspect="1"/>
          </p:cNvPicPr>
          <p:nvPr/>
        </p:nvPicPr>
        <p:blipFill>
          <a:blip r:embed="rId100" cstate="print">
            <a:extLst>
              <a:ext uri="{28A0092B-C50C-407E-A947-70E740481C1C}">
                <a14:useLocalDpi xmlns:a14="http://schemas.microsoft.com/office/drawing/2010/main" val="0"/>
              </a:ext>
            </a:extLst>
          </a:blip>
          <a:srcRect l="34304" r="8769"/>
          <a:stretch/>
        </p:blipFill>
        <p:spPr>
          <a:xfrm>
            <a:off x="9342156" y="2036760"/>
            <a:ext cx="242449" cy="124177"/>
          </a:xfrm>
          <a:prstGeom prst="rect">
            <a:avLst/>
          </a:prstGeom>
        </p:spPr>
      </p:pic>
      <p:pic>
        <p:nvPicPr>
          <p:cNvPr id="271" name="Picture 4">
            <a:extLst>
              <a:ext uri="{FF2B5EF4-FFF2-40B4-BE49-F238E27FC236}">
                <a16:creationId xmlns:a16="http://schemas.microsoft.com/office/drawing/2014/main" id="{84381237-43E6-EBA4-437B-3EE07CA89E03}"/>
              </a:ext>
              <a:ext uri="{C183D7F6-B498-43B3-948B-1728B52AA6E4}">
                <adec:decorative xmlns:adec="http://schemas.microsoft.com/office/drawing/2017/decorative" val="1"/>
              </a:ext>
            </a:extLst>
          </p:cNvPr>
          <p:cNvPicPr>
            <a:picLocks noChangeAspect="1" noChangeArrowheads="1"/>
          </p:cNvPicPr>
          <p:nvPr/>
        </p:nvPicPr>
        <p:blipFill>
          <a:blip r:embed="rId101" cstate="print">
            <a:extLst>
              <a:ext uri="{28A0092B-C50C-407E-A947-70E740481C1C}">
                <a14:useLocalDpi xmlns:a14="http://schemas.microsoft.com/office/drawing/2010/main" val="0"/>
              </a:ext>
            </a:extLst>
          </a:blip>
          <a:srcRect/>
          <a:stretch>
            <a:fillRect/>
          </a:stretch>
        </p:blipFill>
        <p:spPr bwMode="auto">
          <a:xfrm>
            <a:off x="9361401" y="1622390"/>
            <a:ext cx="203959" cy="203959"/>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271">
            <a:extLst>
              <a:ext uri="{FF2B5EF4-FFF2-40B4-BE49-F238E27FC236}">
                <a16:creationId xmlns:a16="http://schemas.microsoft.com/office/drawing/2014/main" id="{30CB4E0E-7D4D-D14D-7F89-EE55919BFE59}"/>
              </a:ext>
              <a:ext uri="{C183D7F6-B498-43B3-948B-1728B52AA6E4}">
                <adec:decorative xmlns:adec="http://schemas.microsoft.com/office/drawing/2017/decorative" val="1"/>
              </a:ext>
            </a:extLst>
          </p:cNvPr>
          <p:cNvPicPr>
            <a:picLocks noChangeAspect="1"/>
          </p:cNvPicPr>
          <p:nvPr/>
        </p:nvPicPr>
        <p:blipFill>
          <a:blip r:embed="rId102" cstate="print">
            <a:extLst>
              <a:ext uri="{28A0092B-C50C-407E-A947-70E740481C1C}">
                <a14:useLocalDpi xmlns:a14="http://schemas.microsoft.com/office/drawing/2010/main" val="0"/>
              </a:ext>
            </a:extLst>
          </a:blip>
          <a:stretch>
            <a:fillRect/>
          </a:stretch>
        </p:blipFill>
        <p:spPr>
          <a:xfrm>
            <a:off x="10412317" y="1968249"/>
            <a:ext cx="251430" cy="251430"/>
          </a:xfrm>
          <a:prstGeom prst="rect">
            <a:avLst/>
          </a:prstGeom>
        </p:spPr>
      </p:pic>
      <p:pic>
        <p:nvPicPr>
          <p:cNvPr id="273" name="Picture 272">
            <a:extLst>
              <a:ext uri="{FF2B5EF4-FFF2-40B4-BE49-F238E27FC236}">
                <a16:creationId xmlns:a16="http://schemas.microsoft.com/office/drawing/2014/main" id="{5AA8E446-DB67-B715-8F47-16117DF36D0D}"/>
              </a:ext>
              <a:ext uri="{C183D7F6-B498-43B3-948B-1728B52AA6E4}">
                <adec:decorative xmlns:adec="http://schemas.microsoft.com/office/drawing/2017/decorative" val="1"/>
              </a:ext>
            </a:extLst>
          </p:cNvPr>
          <p:cNvPicPr>
            <a:picLocks noChangeAspect="1"/>
          </p:cNvPicPr>
          <p:nvPr/>
        </p:nvPicPr>
        <p:blipFill>
          <a:blip r:embed="rId103" cstate="print">
            <a:extLst>
              <a:ext uri="{28A0092B-C50C-407E-A947-70E740481C1C}">
                <a14:useLocalDpi xmlns:a14="http://schemas.microsoft.com/office/drawing/2010/main" val="0"/>
              </a:ext>
            </a:extLst>
          </a:blip>
          <a:stretch>
            <a:fillRect/>
          </a:stretch>
        </p:blipFill>
        <p:spPr>
          <a:xfrm>
            <a:off x="10425310" y="1611647"/>
            <a:ext cx="225445" cy="225445"/>
          </a:xfrm>
          <a:prstGeom prst="rect">
            <a:avLst/>
          </a:prstGeom>
        </p:spPr>
      </p:pic>
      <p:pic>
        <p:nvPicPr>
          <p:cNvPr id="274" name="Picture 273">
            <a:extLst>
              <a:ext uri="{FF2B5EF4-FFF2-40B4-BE49-F238E27FC236}">
                <a16:creationId xmlns:a16="http://schemas.microsoft.com/office/drawing/2014/main" id="{0A1414ED-FCBC-B7E5-4F10-3F68C142B9A0}"/>
              </a:ext>
              <a:ext uri="{C183D7F6-B498-43B3-948B-1728B52AA6E4}">
                <adec:decorative xmlns:adec="http://schemas.microsoft.com/office/drawing/2017/decorative" val="1"/>
              </a:ext>
            </a:extLst>
          </p:cNvPr>
          <p:cNvPicPr>
            <a:picLocks noChangeAspect="1"/>
          </p:cNvPicPr>
          <p:nvPr/>
        </p:nvPicPr>
        <p:blipFill>
          <a:blip r:embed="rId104" cstate="print">
            <a:biLevel thresh="75000"/>
            <a:extLst>
              <a:ext uri="{BEBA8EAE-BF5A-486C-A8C5-ECC9F3942E4B}">
                <a14:imgProps xmlns:a14="http://schemas.microsoft.com/office/drawing/2010/main">
                  <a14:imgLayer r:embed="rId105">
                    <a14:imgEffect>
                      <a14:brightnessContrast bright="-40000" contrast="-40000"/>
                    </a14:imgEffect>
                  </a14:imgLayer>
                </a14:imgProps>
              </a:ext>
              <a:ext uri="{28A0092B-C50C-407E-A947-70E740481C1C}">
                <a14:useLocalDpi xmlns:a14="http://schemas.microsoft.com/office/drawing/2010/main" val="0"/>
              </a:ext>
            </a:extLst>
          </a:blip>
          <a:srcRect l="10794" t="15793" r="10794" b="15793"/>
          <a:stretch/>
        </p:blipFill>
        <p:spPr>
          <a:xfrm>
            <a:off x="9439637" y="4474500"/>
            <a:ext cx="192104" cy="167608"/>
          </a:xfrm>
          <a:prstGeom prst="rect">
            <a:avLst/>
          </a:prstGeom>
        </p:spPr>
      </p:pic>
      <p:sp>
        <p:nvSpPr>
          <p:cNvPr id="275" name="TextBox 274">
            <a:extLst>
              <a:ext uri="{FF2B5EF4-FFF2-40B4-BE49-F238E27FC236}">
                <a16:creationId xmlns:a16="http://schemas.microsoft.com/office/drawing/2014/main" id="{6A0D36CE-B4DD-1E1A-0A87-F6D32EC25C64}"/>
              </a:ext>
              <a:ext uri="{C183D7F6-B498-43B3-948B-1728B52AA6E4}">
                <adec:decorative xmlns:adec="http://schemas.microsoft.com/office/drawing/2017/decorative" val="1"/>
              </a:ext>
            </a:extLst>
          </p:cNvPr>
          <p:cNvSpPr txBox="1"/>
          <p:nvPr/>
        </p:nvSpPr>
        <p:spPr>
          <a:xfrm>
            <a:off x="582950" y="2237768"/>
            <a:ext cx="1005840" cy="338554"/>
          </a:xfrm>
          <a:prstGeom prst="rect">
            <a:avLst/>
          </a:prstGeom>
          <a:noFill/>
        </p:spPr>
        <p:txBody>
          <a:bodyPr wrap="square" lIns="0" tIns="0" rIns="0" bIns="0" rtlCol="0" anchor="ctr">
            <a:spAutoFit/>
          </a:bodyPr>
          <a:lstStyle/>
          <a:p>
            <a:pPr marL="0" marR="0" lvl="0" indent="0" algn="ctr" defTabSz="2321502"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Copilot </a:t>
            </a:r>
            <a:b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b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Studio</a:t>
            </a:r>
          </a:p>
        </p:txBody>
      </p:sp>
      <p:sp>
        <p:nvSpPr>
          <p:cNvPr id="276" name="TextBox 275">
            <a:extLst>
              <a:ext uri="{FF2B5EF4-FFF2-40B4-BE49-F238E27FC236}">
                <a16:creationId xmlns:a16="http://schemas.microsoft.com/office/drawing/2014/main" id="{0204AC19-3A4E-6EA7-6DAB-68D2939678EF}"/>
              </a:ext>
              <a:ext uri="{C183D7F6-B498-43B3-948B-1728B52AA6E4}">
                <adec:decorative xmlns:adec="http://schemas.microsoft.com/office/drawing/2017/decorative" val="1"/>
              </a:ext>
            </a:extLst>
          </p:cNvPr>
          <p:cNvSpPr txBox="1"/>
          <p:nvPr/>
        </p:nvSpPr>
        <p:spPr>
          <a:xfrm>
            <a:off x="582950" y="3377064"/>
            <a:ext cx="1005840" cy="338554"/>
          </a:xfrm>
          <a:prstGeom prst="rect">
            <a:avLst/>
          </a:prstGeom>
          <a:noFill/>
        </p:spPr>
        <p:txBody>
          <a:bodyPr wrap="square" lIns="0" tIns="0" rIns="0" bIns="0" rtlCol="0" anchor="ctr">
            <a:spAutoFit/>
          </a:bodyPr>
          <a:lstStyle/>
          <a:p>
            <a:pPr marL="0" marR="0" lvl="0" indent="0" algn="ctr" defTabSz="2321502"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Visual </a:t>
            </a:r>
            <a:b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b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Studio</a:t>
            </a:r>
          </a:p>
        </p:txBody>
      </p:sp>
      <p:sp>
        <p:nvSpPr>
          <p:cNvPr id="277" name="TextBox 276">
            <a:extLst>
              <a:ext uri="{FF2B5EF4-FFF2-40B4-BE49-F238E27FC236}">
                <a16:creationId xmlns:a16="http://schemas.microsoft.com/office/drawing/2014/main" id="{06142D2C-9761-EE92-EE9B-4BD05CF2BD8B}"/>
              </a:ext>
              <a:ext uri="{C183D7F6-B498-43B3-948B-1728B52AA6E4}">
                <adec:decorative xmlns:adec="http://schemas.microsoft.com/office/drawing/2017/decorative" val="1"/>
              </a:ext>
            </a:extLst>
          </p:cNvPr>
          <p:cNvSpPr txBox="1"/>
          <p:nvPr/>
        </p:nvSpPr>
        <p:spPr>
          <a:xfrm>
            <a:off x="857442" y="4533375"/>
            <a:ext cx="456856" cy="169277"/>
          </a:xfrm>
          <a:prstGeom prst="rect">
            <a:avLst/>
          </a:prstGeom>
          <a:noFill/>
        </p:spPr>
        <p:txBody>
          <a:bodyPr wrap="none" lIns="0" tIns="0" rIns="0" bIns="0" rtlCol="0" anchor="ctr">
            <a:spAutoFit/>
          </a:bodyPr>
          <a:lstStyle/>
          <a:p>
            <a:pPr marL="0" marR="0" lvl="0" indent="0" algn="ctr" defTabSz="2321502"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GitHub</a:t>
            </a:r>
          </a:p>
        </p:txBody>
      </p:sp>
      <p:sp>
        <p:nvSpPr>
          <p:cNvPr id="278" name="Rounded Rectangle 6">
            <a:extLst>
              <a:ext uri="{FF2B5EF4-FFF2-40B4-BE49-F238E27FC236}">
                <a16:creationId xmlns:a16="http://schemas.microsoft.com/office/drawing/2014/main" id="{34044CF4-84FF-1F06-1B22-F83F6DC9DD6F}"/>
              </a:ext>
              <a:ext uri="{C183D7F6-B498-43B3-948B-1728B52AA6E4}">
                <adec:decorative xmlns:adec="http://schemas.microsoft.com/office/drawing/2017/decorative" val="1"/>
              </a:ext>
            </a:extLst>
          </p:cNvPr>
          <p:cNvSpPr/>
          <p:nvPr/>
        </p:nvSpPr>
        <p:spPr bwMode="auto">
          <a:xfrm>
            <a:off x="670692" y="5498192"/>
            <a:ext cx="830356" cy="338554"/>
          </a:xfrm>
          <a:prstGeom prst="rect">
            <a:avLst/>
          </a:prstGeom>
          <a:noFill/>
        </p:spPr>
        <p:txBody>
          <a:bodyPr wrap="none" lIns="0" tIns="0" rIns="0" bIns="0" rtlCol="0" anchor="ctr">
            <a:spAutoFit/>
          </a:bodyPr>
          <a:lstStyle/>
          <a:p>
            <a:pPr marL="0" marR="0" lvl="0" indent="0" algn="ctr" defTabSz="2321502"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Azure AI </a:t>
            </a:r>
            <a:b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br>
            <a:r>
              <a:rPr kumimoji="0" lang="en-US" sz="1100" b="1" i="0" u="none" strike="noStrike" kern="1200" cap="none" spc="0" normalizeH="0" baseline="0" noProof="0">
                <a:ln>
                  <a:noFill/>
                </a:ln>
                <a:solidFill>
                  <a:srgbClr val="FFFFFF"/>
                </a:solidFill>
                <a:effectLst/>
                <a:uLnTx/>
                <a:uFillTx/>
                <a:latin typeface="Segoe UI Variable Display Semibold" pitchFamily="2" charset="0"/>
                <a:ea typeface="+mn-ea"/>
                <a:cs typeface="Segoe Sans Display Semibold"/>
              </a:rPr>
              <a:t>Foundry SDK</a:t>
            </a:r>
          </a:p>
        </p:txBody>
      </p:sp>
      <p:sp>
        <p:nvSpPr>
          <p:cNvPr id="279" name="Rounded Rectangle 6">
            <a:extLst>
              <a:ext uri="{FF2B5EF4-FFF2-40B4-BE49-F238E27FC236}">
                <a16:creationId xmlns:a16="http://schemas.microsoft.com/office/drawing/2014/main" id="{1C1D2099-4FBF-6CD5-B40B-B9BB1FB0C75D}"/>
              </a:ext>
              <a:ext uri="{C183D7F6-B498-43B3-948B-1728B52AA6E4}">
                <adec:decorative xmlns:adec="http://schemas.microsoft.com/office/drawing/2017/decorative" val="1"/>
              </a:ext>
            </a:extLst>
          </p:cNvPr>
          <p:cNvSpPr/>
          <p:nvPr/>
        </p:nvSpPr>
        <p:spPr bwMode="auto">
          <a:xfrm>
            <a:off x="1803676" y="1314881"/>
            <a:ext cx="9691000" cy="224245"/>
          </a:xfrm>
          <a:prstGeom prst="roundRect">
            <a:avLst>
              <a:gd name="adj" fmla="val 50000"/>
            </a:avLst>
          </a:prstGeom>
          <a:gradFill flip="none" rotWithShape="1">
            <a:gsLst>
              <a:gs pos="70000">
                <a:schemeClr val="accent1"/>
              </a:gs>
              <a:gs pos="30000">
                <a:srgbClr val="C03BC4"/>
              </a:gs>
              <a:gs pos="100000">
                <a:schemeClr val="accent3"/>
              </a:gs>
              <a:gs pos="0">
                <a:srgbClr val="FF5C39"/>
              </a:gs>
            </a:gsLst>
            <a:lin ang="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auto" latinLnBrk="0" hangingPunct="1">
              <a:lnSpc>
                <a:spcPct val="100000"/>
              </a:lnSpc>
              <a:spcBef>
                <a:spcPts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Sans Text Semibold"/>
                <a:ea typeface="+mn-ea"/>
                <a:cs typeface="Segoe UI"/>
              </a:rPr>
              <a:t>Design with the best models</a:t>
            </a:r>
            <a:endParaRPr kumimoji="0" lang="en-US" sz="1000" b="0" i="0" u="none" strike="noStrike" kern="1200" cap="none" spc="0" normalizeH="0" baseline="0" noProof="0">
              <a:ln>
                <a:noFill/>
              </a:ln>
              <a:solidFill>
                <a:srgbClr val="FFFFFF"/>
              </a:solidFill>
              <a:effectLst/>
              <a:uLnTx/>
              <a:uFillTx/>
              <a:latin typeface="Segoe UI"/>
              <a:ea typeface="+mn-ea"/>
              <a:cs typeface="Segoe UI"/>
            </a:endParaRPr>
          </a:p>
        </p:txBody>
      </p:sp>
      <p:graphicFrame>
        <p:nvGraphicFramePr>
          <p:cNvPr id="280" name="Table 279">
            <a:extLst>
              <a:ext uri="{FF2B5EF4-FFF2-40B4-BE49-F238E27FC236}">
                <a16:creationId xmlns:a16="http://schemas.microsoft.com/office/drawing/2014/main" id="{27AB5C30-93F6-F2B8-5045-3D1BCA6689A1}"/>
              </a:ext>
            </a:extLst>
          </p:cNvPr>
          <p:cNvGraphicFramePr>
            <a:graphicFrameLocks noGrp="1"/>
          </p:cNvGraphicFramePr>
          <p:nvPr/>
        </p:nvGraphicFramePr>
        <p:xfrm>
          <a:off x="1803677" y="1542544"/>
          <a:ext cx="9690997" cy="731520"/>
        </p:xfrm>
        <a:graphic>
          <a:graphicData uri="http://schemas.openxmlformats.org/drawingml/2006/table">
            <a:tbl>
              <a:tblPr firstRow="1" bandRow="1">
                <a:effectLst>
                  <a:outerShdw blurRad="152400" dist="38100" dir="2700000" algn="tl" rotWithShape="0">
                    <a:prstClr val="black">
                      <a:alpha val="20000"/>
                    </a:prstClr>
                  </a:outerShdw>
                </a:effectLst>
                <a:tableStyleId>{2D5ABB26-0587-4C30-8999-92F81FD0307C}</a:tableStyleId>
              </a:tblPr>
              <a:tblGrid>
                <a:gridCol w="264011">
                  <a:extLst>
                    <a:ext uri="{9D8B030D-6E8A-4147-A177-3AD203B41FA5}">
                      <a16:colId xmlns:a16="http://schemas.microsoft.com/office/drawing/2014/main" val="2353794166"/>
                    </a:ext>
                  </a:extLst>
                </a:gridCol>
                <a:gridCol w="825036">
                  <a:extLst>
                    <a:ext uri="{9D8B030D-6E8A-4147-A177-3AD203B41FA5}">
                      <a16:colId xmlns:a16="http://schemas.microsoft.com/office/drawing/2014/main" val="899803852"/>
                    </a:ext>
                  </a:extLst>
                </a:gridCol>
                <a:gridCol w="264011">
                  <a:extLst>
                    <a:ext uri="{9D8B030D-6E8A-4147-A177-3AD203B41FA5}">
                      <a16:colId xmlns:a16="http://schemas.microsoft.com/office/drawing/2014/main" val="3822473543"/>
                    </a:ext>
                  </a:extLst>
                </a:gridCol>
                <a:gridCol w="825036">
                  <a:extLst>
                    <a:ext uri="{9D8B030D-6E8A-4147-A177-3AD203B41FA5}">
                      <a16:colId xmlns:a16="http://schemas.microsoft.com/office/drawing/2014/main" val="3493185966"/>
                    </a:ext>
                  </a:extLst>
                </a:gridCol>
                <a:gridCol w="264011">
                  <a:extLst>
                    <a:ext uri="{9D8B030D-6E8A-4147-A177-3AD203B41FA5}">
                      <a16:colId xmlns:a16="http://schemas.microsoft.com/office/drawing/2014/main" val="270975455"/>
                    </a:ext>
                  </a:extLst>
                </a:gridCol>
                <a:gridCol w="825036">
                  <a:extLst>
                    <a:ext uri="{9D8B030D-6E8A-4147-A177-3AD203B41FA5}">
                      <a16:colId xmlns:a16="http://schemas.microsoft.com/office/drawing/2014/main" val="1345521298"/>
                    </a:ext>
                  </a:extLst>
                </a:gridCol>
                <a:gridCol w="240851">
                  <a:extLst>
                    <a:ext uri="{9D8B030D-6E8A-4147-A177-3AD203B41FA5}">
                      <a16:colId xmlns:a16="http://schemas.microsoft.com/office/drawing/2014/main" val="2742070695"/>
                    </a:ext>
                  </a:extLst>
                </a:gridCol>
                <a:gridCol w="737770">
                  <a:extLst>
                    <a:ext uri="{9D8B030D-6E8A-4147-A177-3AD203B41FA5}">
                      <a16:colId xmlns:a16="http://schemas.microsoft.com/office/drawing/2014/main" val="902075052"/>
                    </a:ext>
                  </a:extLst>
                </a:gridCol>
                <a:gridCol w="264011">
                  <a:extLst>
                    <a:ext uri="{9D8B030D-6E8A-4147-A177-3AD203B41FA5}">
                      <a16:colId xmlns:a16="http://schemas.microsoft.com/office/drawing/2014/main" val="2562795757"/>
                    </a:ext>
                  </a:extLst>
                </a:gridCol>
                <a:gridCol w="825036">
                  <a:extLst>
                    <a:ext uri="{9D8B030D-6E8A-4147-A177-3AD203B41FA5}">
                      <a16:colId xmlns:a16="http://schemas.microsoft.com/office/drawing/2014/main" val="55297445"/>
                    </a:ext>
                  </a:extLst>
                </a:gridCol>
                <a:gridCol w="264011">
                  <a:extLst>
                    <a:ext uri="{9D8B030D-6E8A-4147-A177-3AD203B41FA5}">
                      <a16:colId xmlns:a16="http://schemas.microsoft.com/office/drawing/2014/main" val="4171512268"/>
                    </a:ext>
                  </a:extLst>
                </a:gridCol>
                <a:gridCol w="825036">
                  <a:extLst>
                    <a:ext uri="{9D8B030D-6E8A-4147-A177-3AD203B41FA5}">
                      <a16:colId xmlns:a16="http://schemas.microsoft.com/office/drawing/2014/main" val="2360656210"/>
                    </a:ext>
                  </a:extLst>
                </a:gridCol>
                <a:gridCol w="264011">
                  <a:extLst>
                    <a:ext uri="{9D8B030D-6E8A-4147-A177-3AD203B41FA5}">
                      <a16:colId xmlns:a16="http://schemas.microsoft.com/office/drawing/2014/main" val="3475059928"/>
                    </a:ext>
                  </a:extLst>
                </a:gridCol>
                <a:gridCol w="825036">
                  <a:extLst>
                    <a:ext uri="{9D8B030D-6E8A-4147-A177-3AD203B41FA5}">
                      <a16:colId xmlns:a16="http://schemas.microsoft.com/office/drawing/2014/main" val="3073074833"/>
                    </a:ext>
                  </a:extLst>
                </a:gridCol>
                <a:gridCol w="264011">
                  <a:extLst>
                    <a:ext uri="{9D8B030D-6E8A-4147-A177-3AD203B41FA5}">
                      <a16:colId xmlns:a16="http://schemas.microsoft.com/office/drawing/2014/main" val="3978897180"/>
                    </a:ext>
                  </a:extLst>
                </a:gridCol>
                <a:gridCol w="825036">
                  <a:extLst>
                    <a:ext uri="{9D8B030D-6E8A-4147-A177-3AD203B41FA5}">
                      <a16:colId xmlns:a16="http://schemas.microsoft.com/office/drawing/2014/main" val="3415509181"/>
                    </a:ext>
                  </a:extLst>
                </a:gridCol>
                <a:gridCol w="264011">
                  <a:extLst>
                    <a:ext uri="{9D8B030D-6E8A-4147-A177-3AD203B41FA5}">
                      <a16:colId xmlns:a16="http://schemas.microsoft.com/office/drawing/2014/main" val="2462099662"/>
                    </a:ext>
                  </a:extLst>
                </a:gridCol>
                <a:gridCol w="825036">
                  <a:extLst>
                    <a:ext uri="{9D8B030D-6E8A-4147-A177-3AD203B41FA5}">
                      <a16:colId xmlns:a16="http://schemas.microsoft.com/office/drawing/2014/main" val="1738518026"/>
                    </a:ext>
                  </a:extLst>
                </a:gridCol>
              </a:tblGrid>
              <a:tr h="0">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en-US" sz="900" b="0" i="0" u="none" strike="noStrike" noProof="0">
                          <a:solidFill>
                            <a:schemeClr val="bg1"/>
                          </a:solidFill>
                          <a:latin typeface="Segoe Sans Text"/>
                        </a:rPr>
                        <a:t>Azure OpenAI Servi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Phi model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Jais G42 models</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Snowflake models</a:t>
                      </a:r>
                      <a:endParaRPr lang="en-US">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Hugging Face</a:t>
                      </a:r>
                      <a:endParaRPr lang="en-US">
                        <a:solidFill>
                          <a:schemeClr val="bg1"/>
                        </a:solidFill>
                      </a:endParaRPr>
                    </a:p>
                    <a:p>
                      <a:pPr lvl="0" algn="l">
                        <a:buNone/>
                      </a:pPr>
                      <a:r>
                        <a:rPr lang="en-US" sz="900">
                          <a:solidFill>
                            <a:schemeClr val="bg1"/>
                          </a:solidFill>
                        </a:rPr>
                        <a:t>models </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algn="l"/>
                      <a:r>
                        <a:rPr lang="en-US" sz="900">
                          <a:solidFill>
                            <a:schemeClr val="bg1"/>
                          </a:solidFill>
                        </a:rPr>
                        <a:t>Mistral AI models</a:t>
                      </a:r>
                    </a:p>
                  </a:txBody>
                  <a:tcPr marL="45720" marR="45720" anchor="ctr">
                    <a:lnL w="0">
                      <a:noFill/>
                    </a:lnL>
                    <a:lnR w="0">
                      <a:noFill/>
                    </a:lnR>
                    <a:lnT w="0">
                      <a:noFill/>
                    </a:lnT>
                    <a:lnB w="0">
                      <a:noFill/>
                    </a:lnB>
                    <a:lnTlToBr w="0">
                      <a:noFill/>
                    </a:lnTlToBr>
                    <a:lnBlToTr w="0">
                      <a:noFill/>
                    </a:lnBlToTr>
                    <a:noFill/>
                  </a:tcPr>
                </a:tc>
                <a:tc>
                  <a:txBody>
                    <a:bodyPr/>
                    <a:lstStyle/>
                    <a:p>
                      <a:pPr algn="l"/>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Meta Llama models</a:t>
                      </a:r>
                      <a:endParaRPr lang="en-US">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Rockwell</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Bayer</a:t>
                      </a: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698261653"/>
                  </a:ext>
                </a:extLst>
              </a:tr>
              <a:tr h="0">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en-US" sz="900">
                          <a:solidFill>
                            <a:schemeClr val="bg1"/>
                          </a:solidFill>
                        </a:rPr>
                        <a:t>Cohere model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r>
                        <a:rPr lang="en-US" sz="900">
                          <a:solidFill>
                            <a:schemeClr val="bg1"/>
                          </a:solidFill>
                        </a:rPr>
                        <a:t>Databricks models</a:t>
                      </a:r>
                      <a:endParaRPr lang="en-US">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Nvidia </a:t>
                      </a:r>
                      <a:endParaRPr lang="en-US">
                        <a:solidFill>
                          <a:schemeClr val="bg1"/>
                        </a:solidFill>
                      </a:endParaRPr>
                    </a:p>
                    <a:p>
                      <a:pPr lvl="0" algn="l">
                        <a:buNone/>
                      </a:pPr>
                      <a:r>
                        <a:rPr lang="en-US" sz="900">
                          <a:solidFill>
                            <a:schemeClr val="bg1"/>
                          </a:solidFill>
                        </a:rPr>
                        <a:t>models</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Deci AI models</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err="1">
                          <a:solidFill>
                            <a:schemeClr val="bg1"/>
                          </a:solidFill>
                        </a:rPr>
                        <a:t>Nixtla</a:t>
                      </a:r>
                      <a:r>
                        <a:rPr lang="en-US" sz="900">
                          <a:solidFill>
                            <a:schemeClr val="bg1"/>
                          </a:solidFill>
                        </a:rPr>
                        <a:t> TimeGen1</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NTT data model</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a:solidFill>
                            <a:schemeClr val="bg1"/>
                          </a:solidFill>
                        </a:rPr>
                        <a:t>Sight </a:t>
                      </a:r>
                      <a:endParaRPr lang="en-US">
                        <a:solidFill>
                          <a:schemeClr val="bg1"/>
                        </a:solidFill>
                      </a:endParaRPr>
                    </a:p>
                    <a:p>
                      <a:pPr lvl="0" algn="l">
                        <a:buNone/>
                      </a:pPr>
                      <a:r>
                        <a:rPr lang="en-US" sz="900">
                          <a:solidFill>
                            <a:schemeClr val="bg1"/>
                          </a:solidFill>
                        </a:rPr>
                        <a:t>machine</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err="1">
                          <a:solidFill>
                            <a:schemeClr val="bg1"/>
                          </a:solidFill>
                        </a:rPr>
                        <a:t>Saifr</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r>
                        <a:rPr lang="en-US" sz="900" err="1">
                          <a:solidFill>
                            <a:schemeClr val="bg1"/>
                          </a:solidFill>
                        </a:rPr>
                        <a:t>DeepSeek</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767706648"/>
                  </a:ext>
                </a:extLst>
              </a:tr>
            </a:tbl>
          </a:graphicData>
        </a:graphic>
      </p:graphicFrame>
      <p:sp>
        <p:nvSpPr>
          <p:cNvPr id="281" name="Rounded Rectangle 6">
            <a:extLst>
              <a:ext uri="{FF2B5EF4-FFF2-40B4-BE49-F238E27FC236}">
                <a16:creationId xmlns:a16="http://schemas.microsoft.com/office/drawing/2014/main" id="{6DB9A582-E375-B4E9-6868-772F11B74616}"/>
              </a:ext>
              <a:ext uri="{C183D7F6-B498-43B3-948B-1728B52AA6E4}">
                <adec:decorative xmlns:adec="http://schemas.microsoft.com/office/drawing/2017/decorative" val="1"/>
              </a:ext>
            </a:extLst>
          </p:cNvPr>
          <p:cNvSpPr/>
          <p:nvPr/>
        </p:nvSpPr>
        <p:spPr bwMode="auto">
          <a:xfrm>
            <a:off x="1813133" y="2440790"/>
            <a:ext cx="9691000" cy="224245"/>
          </a:xfrm>
          <a:prstGeom prst="roundRect">
            <a:avLst>
              <a:gd name="adj" fmla="val 50000"/>
            </a:avLst>
          </a:prstGeom>
          <a:gradFill flip="none" rotWithShape="1">
            <a:gsLst>
              <a:gs pos="70000">
                <a:schemeClr val="accent1"/>
              </a:gs>
              <a:gs pos="30000">
                <a:srgbClr val="C03BC4"/>
              </a:gs>
              <a:gs pos="100000">
                <a:schemeClr val="accent3"/>
              </a:gs>
              <a:gs pos="0">
                <a:srgbClr val="FF5C39"/>
              </a:gs>
            </a:gsLst>
            <a:lin ang="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auto" latinLnBrk="0" hangingPunct="1">
              <a:lnSpc>
                <a:spcPct val="100000"/>
              </a:lnSpc>
              <a:spcBef>
                <a:spcPts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Sans Text Semibold"/>
                <a:ea typeface="+mn-ea"/>
                <a:cs typeface="Segoe UI"/>
              </a:rPr>
              <a:t>Customize with a comprehensive agent toolchain</a:t>
            </a:r>
          </a:p>
        </p:txBody>
      </p:sp>
      <p:graphicFrame>
        <p:nvGraphicFramePr>
          <p:cNvPr id="282" name="Table 281">
            <a:extLst>
              <a:ext uri="{FF2B5EF4-FFF2-40B4-BE49-F238E27FC236}">
                <a16:creationId xmlns:a16="http://schemas.microsoft.com/office/drawing/2014/main" id="{E38F0120-AB9B-84D3-1E2B-E4FCE90234B5}"/>
              </a:ext>
            </a:extLst>
          </p:cNvPr>
          <p:cNvGraphicFramePr>
            <a:graphicFrameLocks noGrp="1"/>
          </p:cNvGraphicFramePr>
          <p:nvPr/>
        </p:nvGraphicFramePr>
        <p:xfrm>
          <a:off x="1803676" y="2668340"/>
          <a:ext cx="9691002" cy="2072640"/>
        </p:xfrm>
        <a:graphic>
          <a:graphicData uri="http://schemas.openxmlformats.org/drawingml/2006/table">
            <a:tbl>
              <a:tblPr firstRow="1" bandRow="1">
                <a:effectLst>
                  <a:outerShdw blurRad="152400" dist="38100" dir="2700000" algn="tl" rotWithShape="0">
                    <a:prstClr val="black">
                      <a:alpha val="20000"/>
                    </a:prstClr>
                  </a:outerShdw>
                </a:effectLst>
                <a:tableStyleId>{2D5ABB26-0587-4C30-8999-92F81FD0307C}</a:tableStyleId>
              </a:tblPr>
              <a:tblGrid>
                <a:gridCol w="261037">
                  <a:extLst>
                    <a:ext uri="{9D8B030D-6E8A-4147-A177-3AD203B41FA5}">
                      <a16:colId xmlns:a16="http://schemas.microsoft.com/office/drawing/2014/main" val="2353794166"/>
                    </a:ext>
                  </a:extLst>
                </a:gridCol>
                <a:gridCol w="815741">
                  <a:extLst>
                    <a:ext uri="{9D8B030D-6E8A-4147-A177-3AD203B41FA5}">
                      <a16:colId xmlns:a16="http://schemas.microsoft.com/office/drawing/2014/main" val="899803852"/>
                    </a:ext>
                  </a:extLst>
                </a:gridCol>
                <a:gridCol w="261037">
                  <a:extLst>
                    <a:ext uri="{9D8B030D-6E8A-4147-A177-3AD203B41FA5}">
                      <a16:colId xmlns:a16="http://schemas.microsoft.com/office/drawing/2014/main" val="3822473543"/>
                    </a:ext>
                  </a:extLst>
                </a:gridCol>
                <a:gridCol w="815741">
                  <a:extLst>
                    <a:ext uri="{9D8B030D-6E8A-4147-A177-3AD203B41FA5}">
                      <a16:colId xmlns:a16="http://schemas.microsoft.com/office/drawing/2014/main" val="3493185966"/>
                    </a:ext>
                  </a:extLst>
                </a:gridCol>
                <a:gridCol w="261037">
                  <a:extLst>
                    <a:ext uri="{9D8B030D-6E8A-4147-A177-3AD203B41FA5}">
                      <a16:colId xmlns:a16="http://schemas.microsoft.com/office/drawing/2014/main" val="270975455"/>
                    </a:ext>
                  </a:extLst>
                </a:gridCol>
                <a:gridCol w="815741">
                  <a:extLst>
                    <a:ext uri="{9D8B030D-6E8A-4147-A177-3AD203B41FA5}">
                      <a16:colId xmlns:a16="http://schemas.microsoft.com/office/drawing/2014/main" val="1345521298"/>
                    </a:ext>
                  </a:extLst>
                </a:gridCol>
                <a:gridCol w="261037">
                  <a:extLst>
                    <a:ext uri="{9D8B030D-6E8A-4147-A177-3AD203B41FA5}">
                      <a16:colId xmlns:a16="http://schemas.microsoft.com/office/drawing/2014/main" val="2742070695"/>
                    </a:ext>
                  </a:extLst>
                </a:gridCol>
                <a:gridCol w="815741">
                  <a:extLst>
                    <a:ext uri="{9D8B030D-6E8A-4147-A177-3AD203B41FA5}">
                      <a16:colId xmlns:a16="http://schemas.microsoft.com/office/drawing/2014/main" val="902075052"/>
                    </a:ext>
                  </a:extLst>
                </a:gridCol>
                <a:gridCol w="261037">
                  <a:extLst>
                    <a:ext uri="{9D8B030D-6E8A-4147-A177-3AD203B41FA5}">
                      <a16:colId xmlns:a16="http://schemas.microsoft.com/office/drawing/2014/main" val="995067766"/>
                    </a:ext>
                  </a:extLst>
                </a:gridCol>
                <a:gridCol w="815741">
                  <a:extLst>
                    <a:ext uri="{9D8B030D-6E8A-4147-A177-3AD203B41FA5}">
                      <a16:colId xmlns:a16="http://schemas.microsoft.com/office/drawing/2014/main" val="2147286661"/>
                    </a:ext>
                  </a:extLst>
                </a:gridCol>
                <a:gridCol w="261037">
                  <a:extLst>
                    <a:ext uri="{9D8B030D-6E8A-4147-A177-3AD203B41FA5}">
                      <a16:colId xmlns:a16="http://schemas.microsoft.com/office/drawing/2014/main" val="2580452302"/>
                    </a:ext>
                  </a:extLst>
                </a:gridCol>
                <a:gridCol w="815741">
                  <a:extLst>
                    <a:ext uri="{9D8B030D-6E8A-4147-A177-3AD203B41FA5}">
                      <a16:colId xmlns:a16="http://schemas.microsoft.com/office/drawing/2014/main" val="2436152289"/>
                    </a:ext>
                  </a:extLst>
                </a:gridCol>
                <a:gridCol w="261037">
                  <a:extLst>
                    <a:ext uri="{9D8B030D-6E8A-4147-A177-3AD203B41FA5}">
                      <a16:colId xmlns:a16="http://schemas.microsoft.com/office/drawing/2014/main" val="1514275171"/>
                    </a:ext>
                  </a:extLst>
                </a:gridCol>
                <a:gridCol w="815741">
                  <a:extLst>
                    <a:ext uri="{9D8B030D-6E8A-4147-A177-3AD203B41FA5}">
                      <a16:colId xmlns:a16="http://schemas.microsoft.com/office/drawing/2014/main" val="1976932501"/>
                    </a:ext>
                  </a:extLst>
                </a:gridCol>
                <a:gridCol w="261037">
                  <a:extLst>
                    <a:ext uri="{9D8B030D-6E8A-4147-A177-3AD203B41FA5}">
                      <a16:colId xmlns:a16="http://schemas.microsoft.com/office/drawing/2014/main" val="2457906756"/>
                    </a:ext>
                  </a:extLst>
                </a:gridCol>
                <a:gridCol w="815741">
                  <a:extLst>
                    <a:ext uri="{9D8B030D-6E8A-4147-A177-3AD203B41FA5}">
                      <a16:colId xmlns:a16="http://schemas.microsoft.com/office/drawing/2014/main" val="3550703522"/>
                    </a:ext>
                  </a:extLst>
                </a:gridCol>
                <a:gridCol w="261037">
                  <a:extLst>
                    <a:ext uri="{9D8B030D-6E8A-4147-A177-3AD203B41FA5}">
                      <a16:colId xmlns:a16="http://schemas.microsoft.com/office/drawing/2014/main" val="817727851"/>
                    </a:ext>
                  </a:extLst>
                </a:gridCol>
                <a:gridCol w="815741">
                  <a:extLst>
                    <a:ext uri="{9D8B030D-6E8A-4147-A177-3AD203B41FA5}">
                      <a16:colId xmlns:a16="http://schemas.microsoft.com/office/drawing/2014/main" val="2407046754"/>
                    </a:ext>
                  </a:extLst>
                </a:gridCol>
              </a:tblGrid>
              <a:tr h="0">
                <a:tc gridSpan="14">
                  <a:txBody>
                    <a:bodyPr/>
                    <a:lstStyle/>
                    <a:p>
                      <a:pPr algn="ctr"/>
                      <a:r>
                        <a:rPr lang="en-US" sz="1000" b="0" i="1" kern="1200">
                          <a:solidFill>
                            <a:schemeClr val="bg1"/>
                          </a:solidFill>
                          <a:latin typeface="Segoe UI"/>
                          <a:ea typeface="+mn-ea"/>
                          <a:cs typeface="+mn-cs"/>
                        </a:rPr>
                        <a:t>1P offerings</a:t>
                      </a:r>
                    </a:p>
                  </a:txBody>
                  <a:tcPr marL="45720" marR="45720" anchor="ctr">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T="91440" marB="91440" anchor="ctr">
                    <a:lnL w="12700" cap="flat" cmpd="sng" algn="ctr">
                      <a:noFill/>
                      <a:prstDash val="solid"/>
                      <a:round/>
                      <a:headEnd type="none" w="med" len="med"/>
                      <a:tailEnd type="none" w="med" len="med"/>
                    </a:lnL>
                    <a:lnR w="0">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algn="l"/>
                      <a:endParaRPr lang="en-US" sz="900"/>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algn="l"/>
                      <a:endParaRPr lang="en-US" sz="900"/>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lvl="0" algn="l">
                        <a:buNone/>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lvl="0" algn="l">
                        <a:buNone/>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lvl="0" algn="l">
                        <a:buNone/>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lvl="0" algn="l">
                        <a:buNone/>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algn="l"/>
                      <a:endParaRPr lang="en-US" sz="800"/>
                    </a:p>
                  </a:txBody>
                  <a:tcPr marL="0" marR="0" marT="0" marB="9144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p>
                  </a:txBody>
                  <a:tcPr marT="91440" marB="91440" anchor="ctr">
                    <a:lnL w="0">
                      <a:noFill/>
                    </a:lnL>
                    <a:lnR w="0">
                      <a:noFill/>
                    </a:lnR>
                    <a:lnT w="0">
                      <a:noFill/>
                    </a:lnT>
                    <a:lnB w="0">
                      <a:noFill/>
                    </a:lnB>
                    <a:lnTlToBr w="0">
                      <a:noFill/>
                    </a:lnTlToBr>
                    <a:lnBlToTr w="0">
                      <a:noFill/>
                    </a:lnBlToTr>
                    <a:solidFill>
                      <a:schemeClr val="bg1">
                        <a:alpha val="80000"/>
                      </a:schemeClr>
                    </a:solidFill>
                  </a:tcPr>
                </a:tc>
                <a:tc gridSpan="4">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b="0" i="1" kern="1200">
                          <a:solidFill>
                            <a:schemeClr val="bg1"/>
                          </a:solidFill>
                          <a:latin typeface="Segoe UI"/>
                          <a:ea typeface="+mn-ea"/>
                          <a:cs typeface="+mn-cs"/>
                        </a:rPr>
                        <a:t>3P offerings</a:t>
                      </a: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hMerge="1">
                  <a:txBody>
                    <a:bodyPr/>
                    <a:lstStyle/>
                    <a:p>
                      <a:pPr algn="l">
                        <a:spcAft>
                          <a:spcPts val="1200"/>
                        </a:spcAft>
                      </a:pPr>
                      <a:endParaRPr lang="en-US" sz="900"/>
                    </a:p>
                  </a:txBody>
                  <a:tcPr marT="91440" marB="18288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algn="l">
                        <a:spcAft>
                          <a:spcPts val="1200"/>
                        </a:spcAft>
                      </a:pPr>
                      <a:endParaRPr lang="en-US" sz="800"/>
                    </a:p>
                  </a:txBody>
                  <a:tcPr marL="0" marR="0" marT="0" marB="182880" anchor="ctr">
                    <a:lnL w="0">
                      <a:noFill/>
                    </a:lnL>
                    <a:lnR w="0">
                      <a:noFill/>
                    </a:lnR>
                    <a:lnT w="0">
                      <a:noFill/>
                    </a:lnT>
                    <a:lnB w="0">
                      <a:noFill/>
                    </a:lnB>
                    <a:lnTlToBr w="0">
                      <a:noFill/>
                    </a:lnTlToBr>
                    <a:lnBlToTr w="0">
                      <a:noFill/>
                    </a:lnBlToTr>
                    <a:solidFill>
                      <a:schemeClr val="bg1">
                        <a:alpha val="80000"/>
                      </a:schemeClr>
                    </a:solidFill>
                  </a:tcPr>
                </a:tc>
                <a:tc hMerge="1">
                  <a:txBody>
                    <a:bodyPr/>
                    <a:lstStyle/>
                    <a:p>
                      <a:pPr marL="0" marR="0" lvl="0" indent="0" algn="l" defTabSz="932742" rtl="0" eaLnBrk="1" fontAlgn="auto" latinLnBrk="0" hangingPunct="1">
                        <a:lnSpc>
                          <a:spcPct val="100000"/>
                        </a:lnSpc>
                        <a:spcBef>
                          <a:spcPts val="0"/>
                        </a:spcBef>
                        <a:spcAft>
                          <a:spcPts val="1200"/>
                        </a:spcAft>
                        <a:buClrTx/>
                        <a:buSzTx/>
                        <a:buFontTx/>
                        <a:buNone/>
                        <a:tabLst/>
                        <a:defRPr/>
                      </a:pPr>
                      <a:endParaRPr lang="en-US" sz="900"/>
                    </a:p>
                  </a:txBody>
                  <a:tcPr marT="91440" marB="182880" anchor="ctr">
                    <a:lnL w="0">
                      <a:noFill/>
                    </a:lnL>
                    <a:lnR w="0">
                      <a:noFill/>
                    </a:lnR>
                    <a:lnT w="0">
                      <a:noFill/>
                    </a:lnT>
                    <a:lnB w="0">
                      <a:noFill/>
                    </a:lnB>
                    <a:lnTlToBr w="0">
                      <a:noFill/>
                    </a:lnTlToBr>
                    <a:lnBlToTr w="0">
                      <a:noFill/>
                    </a:lnBlToTr>
                    <a:solidFill>
                      <a:schemeClr val="bg1">
                        <a:alpha val="80000"/>
                      </a:schemeClr>
                    </a:solidFill>
                  </a:tcPr>
                </a:tc>
                <a:extLst>
                  <a:ext uri="{0D108BD9-81ED-4DB2-BD59-A6C34878D82A}">
                    <a16:rowId xmlns:a16="http://schemas.microsoft.com/office/drawing/2014/main" val="3902399237"/>
                  </a:ext>
                </a:extLst>
              </a:tr>
              <a:tr h="169957">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Azure AI Agent Servi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Azure AI Search</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Microsoft Fabric</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SQL Database</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algn="l">
                        <a:spcAft>
                          <a:spcPts val="1200"/>
                        </a:spcAft>
                      </a:pPr>
                      <a:r>
                        <a:rPr lang="en-US" sz="900">
                          <a:solidFill>
                            <a:schemeClr val="bg1"/>
                          </a:solidFill>
                        </a:rPr>
                        <a:t>Microsoft Bing</a:t>
                      </a:r>
                    </a:p>
                  </a:txBody>
                  <a:tcPr marL="45720" marR="45720" anchor="ctr">
                    <a:lnL w="0">
                      <a:noFill/>
                    </a:lnL>
                    <a:lnR w="0">
                      <a:noFill/>
                    </a:lnR>
                    <a:lnT w="0">
                      <a:noFill/>
                    </a:lnT>
                    <a:lnB w="0">
                      <a:noFill/>
                    </a:lnB>
                    <a:lnTlToBr w="0">
                      <a:noFill/>
                    </a:lnTlToBr>
                    <a:lnBlToTr w="0">
                      <a:noFill/>
                    </a:lnBlToTr>
                    <a:noFill/>
                  </a:tcPr>
                </a:tc>
                <a:tc>
                  <a:txBody>
                    <a:bodyPr/>
                    <a:lstStyle/>
                    <a:p>
                      <a:pPr algn="l">
                        <a:spcAft>
                          <a:spcPts val="1200"/>
                        </a:spcAft>
                      </a:pPr>
                      <a:endParaRPr lang="en-US" sz="8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900">
                          <a:solidFill>
                            <a:schemeClr val="bg1"/>
                          </a:solidFill>
                        </a:rPr>
                        <a:t>Microsoft Blob Storage</a:t>
                      </a:r>
                    </a:p>
                  </a:txBody>
                  <a:tcPr marL="45720" marR="45720" anchor="ctr">
                    <a:lnL w="0">
                      <a:noFill/>
                    </a:lnL>
                    <a:lnR w="0">
                      <a:noFill/>
                    </a:lnR>
                    <a:lnT w="0">
                      <a:noFill/>
                    </a:lnT>
                    <a:lnB w="0">
                      <a:noFill/>
                    </a:lnB>
                    <a:lnTlToBr w="0">
                      <a:noFill/>
                    </a:lnTlToBr>
                    <a:lnBlToTr w="0">
                      <a:noFill/>
                    </a:lnBlToTr>
                    <a:noFill/>
                  </a:tcPr>
                </a:tc>
                <a:tc>
                  <a:txBody>
                    <a:bodyPr/>
                    <a:lstStyle/>
                    <a:p>
                      <a:pPr algn="l"/>
                      <a:endParaRPr lang="en-US" sz="8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Microsoft SharePoint</a:t>
                      </a:r>
                    </a:p>
                  </a:txBody>
                  <a:tcPr marL="45720" marR="45720" anchor="ctr">
                    <a:lnL w="0">
                      <a:noFill/>
                    </a:lnL>
                    <a:lnR w="0" cap="flat" cmpd="sng" algn="ctr">
                      <a:noFill/>
                      <a:prstDash val="solid"/>
                      <a:round/>
                      <a:headEnd type="none" w="med" len="med"/>
                      <a:tailEnd type="none" w="med" len="med"/>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a:txBody>
                    <a:bodyPr/>
                    <a:lstStyle/>
                    <a:p>
                      <a:pPr algn="l">
                        <a:spcAft>
                          <a:spcPts val="1200"/>
                        </a:spcAft>
                      </a:pPr>
                      <a:r>
                        <a:rPr lang="en-US" sz="900">
                          <a:solidFill>
                            <a:schemeClr val="bg1"/>
                          </a:solidFill>
                        </a:rPr>
                        <a:t>  </a:t>
                      </a:r>
                      <a:r>
                        <a:rPr lang="en-US" sz="900" err="1">
                          <a:solidFill>
                            <a:schemeClr val="bg1"/>
                          </a:solidFill>
                        </a:rPr>
                        <a:t>Langchain</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algn="l">
                        <a:spcAft>
                          <a:spcPts val="1200"/>
                        </a:spcAft>
                      </a:pPr>
                      <a:endParaRPr lang="en-US" sz="8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900" b="0" i="0" u="none" strike="noStrike" noProof="0" err="1">
                          <a:solidFill>
                            <a:schemeClr val="bg1"/>
                          </a:solidFill>
                          <a:latin typeface="+mn-lt"/>
                        </a:rPr>
                        <a:t>LlamaIndex</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698261653"/>
                  </a:ext>
                </a:extLst>
              </a:tr>
              <a:tr h="169957">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Redi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Cosmos DB</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900" b="0" i="0" u="none" strike="noStrike" noProof="0">
                          <a:solidFill>
                            <a:schemeClr val="bg1"/>
                          </a:solidFill>
                          <a:latin typeface="+mn-lt"/>
                        </a:rPr>
                        <a:t>Azure Data Lake Storage</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Logic Apps</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900" b="0" i="0" u="none" strike="noStrike" noProof="0">
                          <a:solidFill>
                            <a:schemeClr val="bg1"/>
                          </a:solidFill>
                          <a:latin typeface="+mn-lt"/>
                        </a:rPr>
                        <a:t>Azure Functions</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Event Hub</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Dynamic Sessions</a:t>
                      </a:r>
                    </a:p>
                  </a:txBody>
                  <a:tcPr marL="45720" marR="45720" anchor="ctr">
                    <a:lnL w="0">
                      <a:noFill/>
                    </a:lnL>
                    <a:lnR w="0" cap="flat" cmpd="sng" algn="ctr">
                      <a:noFill/>
                      <a:prstDash val="solid"/>
                      <a:round/>
                      <a:headEnd type="none" w="med" len="med"/>
                      <a:tailEnd type="none" w="med" len="med"/>
                    </a:lnR>
                    <a:lnT w="0">
                      <a:noFill/>
                    </a:lnT>
                    <a:lnB w="0">
                      <a:noFill/>
                    </a:lnB>
                    <a:lnTlToBr w="0">
                      <a:noFill/>
                    </a:lnTlToBr>
                    <a:lnBlToTr w="0">
                      <a:noFill/>
                    </a:lnBlToTr>
                    <a:noFill/>
                  </a:tcPr>
                </a:tc>
                <a:tc>
                  <a:txBody>
                    <a:bodyPr/>
                    <a:lstStyle/>
                    <a:p>
                      <a:pPr algn="l"/>
                      <a:endParaRPr lang="en-US" sz="900">
                        <a:solidFill>
                          <a:schemeClr val="bg1"/>
                        </a:solidFill>
                      </a:endParaRP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  Llama Stack</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Code Interpreter</a:t>
                      </a: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767706648"/>
                  </a:ext>
                </a:extLst>
              </a:tr>
              <a:tr h="169957">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Container App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Kubernet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Azure AI Speech</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Azure AI Language</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AI Translation</a:t>
                      </a:r>
                    </a:p>
                  </a:txBody>
                  <a:tcPr marL="45720" marR="45720" anchor="ctr">
                    <a:lnL w="0">
                      <a:noFill/>
                    </a:lnL>
                    <a:lnR w="0">
                      <a:noFill/>
                    </a:lnR>
                    <a:lnT w="0">
                      <a:noFill/>
                    </a:lnT>
                    <a:lnB w="0">
                      <a:noFill/>
                    </a:lnB>
                    <a:lnTlToBr w="0">
                      <a:noFill/>
                    </a:lnTlToBr>
                    <a:lnBlToTr w="0">
                      <a:noFill/>
                    </a:lnBlToTr>
                    <a:noFill/>
                  </a:tcPr>
                </a:tc>
                <a:tc>
                  <a:txBody>
                    <a:bodyPr/>
                    <a:lstStyle/>
                    <a:p>
                      <a:pPr algn="l"/>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AI Vision</a:t>
                      </a: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Azure AI Doc. Intelligence</a:t>
                      </a:r>
                    </a:p>
                  </a:txBody>
                  <a:tcPr marL="45720" marR="45720" anchor="ctr">
                    <a:lnL w="0">
                      <a:noFill/>
                    </a:lnL>
                    <a:lnR w="0" cap="flat" cmpd="sng" algn="ctr">
                      <a:noFill/>
                      <a:prstDash val="solid"/>
                      <a:round/>
                      <a:headEnd type="none" w="med" len="med"/>
                      <a:tailEnd type="none" w="med" len="med"/>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  OpenAI </a:t>
                      </a:r>
                      <a:br>
                        <a:rPr lang="en-US" sz="900" b="0" i="0" u="none" strike="noStrike" noProof="0">
                          <a:solidFill>
                            <a:schemeClr val="bg1"/>
                          </a:solidFill>
                          <a:latin typeface="+mn-lt"/>
                        </a:rPr>
                      </a:br>
                      <a:r>
                        <a:rPr lang="en-US" sz="900" b="0" i="0" u="none" strike="noStrike" noProof="0">
                          <a:solidFill>
                            <a:schemeClr val="bg1"/>
                          </a:solidFill>
                          <a:latin typeface="+mn-lt"/>
                        </a:rPr>
                        <a:t>  Actions</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Gretel</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2815237641"/>
                  </a:ext>
                </a:extLst>
              </a:tr>
              <a:tr h="169957">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Azure AI Content Un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Semantic Kerne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err="1">
                          <a:solidFill>
                            <a:schemeClr val="bg1"/>
                          </a:solidFill>
                        </a:rPr>
                        <a:t>AutoGen</a:t>
                      </a: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ML</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err="1">
                          <a:solidFill>
                            <a:schemeClr val="bg1"/>
                          </a:solidFill>
                        </a:rPr>
                        <a:t>Prompty</a:t>
                      </a: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Fine-tuning </a:t>
                      </a:r>
                      <a:br>
                        <a:rPr lang="en-US" sz="900">
                          <a:solidFill>
                            <a:schemeClr val="bg1"/>
                          </a:solidFill>
                        </a:rPr>
                      </a:br>
                      <a:r>
                        <a:rPr lang="en-US" sz="900">
                          <a:solidFill>
                            <a:schemeClr val="bg1"/>
                          </a:solidFill>
                        </a:rPr>
                        <a:t>&amp; distillation</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Tracing &amp; debugging</a:t>
                      </a:r>
                      <a:endParaRPr lang="en-US" sz="900">
                        <a:solidFill>
                          <a:schemeClr val="bg1"/>
                        </a:solidFill>
                      </a:endParaRPr>
                    </a:p>
                  </a:txBody>
                  <a:tcPr marL="45720" marR="45720" anchor="ctr">
                    <a:lnL w="0">
                      <a:noFill/>
                    </a:lnL>
                    <a:lnR w="0" cap="flat" cmpd="sng" algn="ctr">
                      <a:noFill/>
                      <a:prstDash val="solid"/>
                      <a:round/>
                      <a:headEnd type="none" w="med" len="med"/>
                      <a:tailEnd type="none" w="med" len="med"/>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  Weights </a:t>
                      </a:r>
                      <a:br>
                        <a:rPr lang="en-US" sz="900">
                          <a:solidFill>
                            <a:schemeClr val="bg1"/>
                          </a:solidFill>
                        </a:rPr>
                      </a:br>
                      <a:r>
                        <a:rPr lang="en-US" sz="900">
                          <a:solidFill>
                            <a:schemeClr val="bg1"/>
                          </a:solidFill>
                        </a:rPr>
                        <a:t>  &amp; Biases</a:t>
                      </a: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b="0" i="0" u="none" strike="noStrike" noProof="0">
                        <a:solidFill>
                          <a:schemeClr val="bg1"/>
                        </a:solidFill>
                        <a:latin typeface="+mn-lt"/>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bg1"/>
                          </a:solidFill>
                          <a:latin typeface="+mn-lt"/>
                        </a:rPr>
                        <a:t>Scale</a:t>
                      </a: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540342014"/>
                  </a:ext>
                </a:extLst>
              </a:tr>
              <a:tr h="169957">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Evalua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Experimen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cap="flat" cmpd="sng" algn="ctr">
                      <a:noFill/>
                      <a:prstDash val="solid"/>
                      <a:round/>
                      <a:headEnd type="none" w="med" len="med"/>
                      <a:tailEnd type="none" w="med" len="med"/>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cap="flat" cmpd="sng" algn="ctr">
                      <a:noFill/>
                      <a:prstDash val="solid"/>
                      <a:round/>
                      <a:headEnd type="none" w="med" len="med"/>
                      <a:tailEnd type="none" w="med" len="med"/>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  </a:t>
                      </a:r>
                      <a:r>
                        <a:rPr lang="en-US" sz="900" err="1">
                          <a:solidFill>
                            <a:schemeClr val="bg1"/>
                          </a:solidFill>
                        </a:rPr>
                        <a:t>Statsig</a:t>
                      </a: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0">
                      <a:noFill/>
                    </a:lnL>
                    <a:lnR w="0">
                      <a:noFill/>
                    </a:lnR>
                    <a:lnT w="0">
                      <a:noFill/>
                    </a:lnT>
                    <a:lnB w="0">
                      <a:noFill/>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rize AI</a:t>
                      </a:r>
                    </a:p>
                  </a:txBody>
                  <a:tcPr marL="45720" marR="45720"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480329114"/>
                  </a:ext>
                </a:extLst>
              </a:tr>
            </a:tbl>
          </a:graphicData>
        </a:graphic>
      </p:graphicFrame>
      <p:sp>
        <p:nvSpPr>
          <p:cNvPr id="283" name="Rounded Rectangle 6">
            <a:extLst>
              <a:ext uri="{FF2B5EF4-FFF2-40B4-BE49-F238E27FC236}">
                <a16:creationId xmlns:a16="http://schemas.microsoft.com/office/drawing/2014/main" id="{088FB35F-0181-F1D4-EF51-B1C72CDC9247}"/>
              </a:ext>
              <a:ext uri="{C183D7F6-B498-43B3-948B-1728B52AA6E4}">
                <adec:decorative xmlns:adec="http://schemas.microsoft.com/office/drawing/2017/decorative" val="1"/>
              </a:ext>
            </a:extLst>
          </p:cNvPr>
          <p:cNvSpPr/>
          <p:nvPr/>
        </p:nvSpPr>
        <p:spPr bwMode="auto">
          <a:xfrm>
            <a:off x="1803675" y="4879545"/>
            <a:ext cx="9691000" cy="221084"/>
          </a:xfrm>
          <a:prstGeom prst="roundRect">
            <a:avLst>
              <a:gd name="adj" fmla="val 50000"/>
            </a:avLst>
          </a:prstGeom>
          <a:gradFill flip="none" rotWithShape="1">
            <a:gsLst>
              <a:gs pos="70000">
                <a:schemeClr val="accent1"/>
              </a:gs>
              <a:gs pos="30000">
                <a:srgbClr val="C03BC4"/>
              </a:gs>
              <a:gs pos="100000">
                <a:schemeClr val="accent3"/>
              </a:gs>
              <a:gs pos="0">
                <a:srgbClr val="FF5C39"/>
              </a:gs>
            </a:gsLst>
            <a:lin ang="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auto" latinLnBrk="0" hangingPunct="1">
              <a:lnSpc>
                <a:spcPct val="100000"/>
              </a:lnSpc>
              <a:spcBef>
                <a:spcPts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Sans Text Semibold"/>
                <a:ea typeface="+mn-ea"/>
                <a:cs typeface="Segoe UI"/>
              </a:rPr>
              <a:t>Manage performance in production</a:t>
            </a:r>
          </a:p>
        </p:txBody>
      </p:sp>
      <p:graphicFrame>
        <p:nvGraphicFramePr>
          <p:cNvPr id="284" name="Table 283">
            <a:extLst>
              <a:ext uri="{FF2B5EF4-FFF2-40B4-BE49-F238E27FC236}">
                <a16:creationId xmlns:a16="http://schemas.microsoft.com/office/drawing/2014/main" id="{F6761CC9-F144-AD37-F0DB-3416915040BE}"/>
              </a:ext>
            </a:extLst>
          </p:cNvPr>
          <p:cNvGraphicFramePr>
            <a:graphicFrameLocks noGrp="1"/>
          </p:cNvGraphicFramePr>
          <p:nvPr/>
        </p:nvGraphicFramePr>
        <p:xfrm>
          <a:off x="1803677" y="5101787"/>
          <a:ext cx="9691004" cy="365760"/>
        </p:xfrm>
        <a:graphic>
          <a:graphicData uri="http://schemas.openxmlformats.org/drawingml/2006/table">
            <a:tbl>
              <a:tblPr firstRow="1" bandRow="1">
                <a:effectLst>
                  <a:outerShdw blurRad="152400" dist="38100" dir="2700000" algn="tl" rotWithShape="0">
                    <a:prstClr val="black">
                      <a:alpha val="20000"/>
                    </a:prstClr>
                  </a:outerShdw>
                </a:effectLst>
                <a:tableStyleId>{2D5ABB26-0587-4C30-8999-92F81FD0307C}</a:tableStyleId>
              </a:tblPr>
              <a:tblGrid>
                <a:gridCol w="304719">
                  <a:extLst>
                    <a:ext uri="{9D8B030D-6E8A-4147-A177-3AD203B41FA5}">
                      <a16:colId xmlns:a16="http://schemas.microsoft.com/office/drawing/2014/main" val="2353794166"/>
                    </a:ext>
                  </a:extLst>
                </a:gridCol>
                <a:gridCol w="1311441">
                  <a:extLst>
                    <a:ext uri="{9D8B030D-6E8A-4147-A177-3AD203B41FA5}">
                      <a16:colId xmlns:a16="http://schemas.microsoft.com/office/drawing/2014/main" val="899803852"/>
                    </a:ext>
                  </a:extLst>
                </a:gridCol>
                <a:gridCol w="303271">
                  <a:extLst>
                    <a:ext uri="{9D8B030D-6E8A-4147-A177-3AD203B41FA5}">
                      <a16:colId xmlns:a16="http://schemas.microsoft.com/office/drawing/2014/main" val="3822473543"/>
                    </a:ext>
                  </a:extLst>
                </a:gridCol>
                <a:gridCol w="1311441">
                  <a:extLst>
                    <a:ext uri="{9D8B030D-6E8A-4147-A177-3AD203B41FA5}">
                      <a16:colId xmlns:a16="http://schemas.microsoft.com/office/drawing/2014/main" val="3493185966"/>
                    </a:ext>
                  </a:extLst>
                </a:gridCol>
                <a:gridCol w="303158">
                  <a:extLst>
                    <a:ext uri="{9D8B030D-6E8A-4147-A177-3AD203B41FA5}">
                      <a16:colId xmlns:a16="http://schemas.microsoft.com/office/drawing/2014/main" val="270975455"/>
                    </a:ext>
                  </a:extLst>
                </a:gridCol>
                <a:gridCol w="1311441">
                  <a:extLst>
                    <a:ext uri="{9D8B030D-6E8A-4147-A177-3AD203B41FA5}">
                      <a16:colId xmlns:a16="http://schemas.microsoft.com/office/drawing/2014/main" val="1345521298"/>
                    </a:ext>
                  </a:extLst>
                </a:gridCol>
                <a:gridCol w="303271">
                  <a:extLst>
                    <a:ext uri="{9D8B030D-6E8A-4147-A177-3AD203B41FA5}">
                      <a16:colId xmlns:a16="http://schemas.microsoft.com/office/drawing/2014/main" val="2742070695"/>
                    </a:ext>
                  </a:extLst>
                </a:gridCol>
                <a:gridCol w="1311441">
                  <a:extLst>
                    <a:ext uri="{9D8B030D-6E8A-4147-A177-3AD203B41FA5}">
                      <a16:colId xmlns:a16="http://schemas.microsoft.com/office/drawing/2014/main" val="902075052"/>
                    </a:ext>
                  </a:extLst>
                </a:gridCol>
                <a:gridCol w="304668">
                  <a:extLst>
                    <a:ext uri="{9D8B030D-6E8A-4147-A177-3AD203B41FA5}">
                      <a16:colId xmlns:a16="http://schemas.microsoft.com/office/drawing/2014/main" val="995067766"/>
                    </a:ext>
                  </a:extLst>
                </a:gridCol>
                <a:gridCol w="1311441">
                  <a:extLst>
                    <a:ext uri="{9D8B030D-6E8A-4147-A177-3AD203B41FA5}">
                      <a16:colId xmlns:a16="http://schemas.microsoft.com/office/drawing/2014/main" val="2147286661"/>
                    </a:ext>
                  </a:extLst>
                </a:gridCol>
                <a:gridCol w="303271">
                  <a:extLst>
                    <a:ext uri="{9D8B030D-6E8A-4147-A177-3AD203B41FA5}">
                      <a16:colId xmlns:a16="http://schemas.microsoft.com/office/drawing/2014/main" val="2580452302"/>
                    </a:ext>
                  </a:extLst>
                </a:gridCol>
                <a:gridCol w="1311441">
                  <a:extLst>
                    <a:ext uri="{9D8B030D-6E8A-4147-A177-3AD203B41FA5}">
                      <a16:colId xmlns:a16="http://schemas.microsoft.com/office/drawing/2014/main" val="2436152289"/>
                    </a:ext>
                  </a:extLst>
                </a:gridCol>
              </a:tblGrid>
              <a:tr h="0">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Azure Monito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Azure App Confi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Microsoft Cost Managemen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err="1">
                          <a:solidFill>
                            <a:schemeClr val="bg1"/>
                          </a:solidFill>
                        </a:rPr>
                        <a:t>ClearML</a:t>
                      </a: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err="1">
                          <a:solidFill>
                            <a:schemeClr val="bg1"/>
                          </a:solidFill>
                        </a:rPr>
                        <a:t>Dataloop</a:t>
                      </a: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GitHub Actio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698261653"/>
                  </a:ext>
                </a:extLst>
              </a:tr>
            </a:tbl>
          </a:graphicData>
        </a:graphic>
      </p:graphicFrame>
      <p:sp>
        <p:nvSpPr>
          <p:cNvPr id="285" name="Rounded Rectangle 6">
            <a:extLst>
              <a:ext uri="{FF2B5EF4-FFF2-40B4-BE49-F238E27FC236}">
                <a16:creationId xmlns:a16="http://schemas.microsoft.com/office/drawing/2014/main" id="{33986E95-F3E9-CB2F-DD71-604C3537881F}"/>
              </a:ext>
              <a:ext uri="{C183D7F6-B498-43B3-948B-1728B52AA6E4}">
                <adec:decorative xmlns:adec="http://schemas.microsoft.com/office/drawing/2017/decorative" val="1"/>
              </a:ext>
            </a:extLst>
          </p:cNvPr>
          <p:cNvSpPr/>
          <p:nvPr/>
        </p:nvSpPr>
        <p:spPr bwMode="auto">
          <a:xfrm>
            <a:off x="1803675" y="5613704"/>
            <a:ext cx="9691000" cy="221084"/>
          </a:xfrm>
          <a:prstGeom prst="roundRect">
            <a:avLst>
              <a:gd name="adj" fmla="val 50000"/>
            </a:avLst>
          </a:prstGeom>
          <a:gradFill flip="none" rotWithShape="1">
            <a:gsLst>
              <a:gs pos="70000">
                <a:schemeClr val="accent1"/>
              </a:gs>
              <a:gs pos="30000">
                <a:srgbClr val="C03BC4"/>
              </a:gs>
              <a:gs pos="100000">
                <a:schemeClr val="accent3"/>
              </a:gs>
              <a:gs pos="0">
                <a:srgbClr val="FF5C39"/>
              </a:gs>
            </a:gsLst>
            <a:lin ang="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auto" latinLnBrk="0" hangingPunct="1">
              <a:lnSpc>
                <a:spcPct val="100000"/>
              </a:lnSpc>
              <a:spcBef>
                <a:spcPts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Sans Text Semibold"/>
                <a:ea typeface="+mn-ea"/>
                <a:cs typeface="Segoe UI"/>
              </a:rPr>
              <a:t>Safeguard with </a:t>
            </a:r>
            <a:r>
              <a:rPr kumimoji="0" lang="en-US" sz="1000" b="1" i="0" u="none" strike="noStrike" kern="1200" cap="none" spc="0" normalizeH="0" baseline="0" noProof="0" err="1">
                <a:ln>
                  <a:noFill/>
                </a:ln>
                <a:solidFill>
                  <a:srgbClr val="FFFFFF"/>
                </a:solidFill>
                <a:effectLst/>
                <a:uLnTx/>
                <a:uFillTx/>
                <a:latin typeface="Segoe Sans Text Semibold"/>
                <a:ea typeface="+mn-ea"/>
                <a:cs typeface="Segoe UI"/>
              </a:rPr>
              <a:t>Trusthworthy</a:t>
            </a:r>
            <a:r>
              <a:rPr kumimoji="0" lang="en-US" sz="1000" b="1" i="0" u="none" strike="noStrike" kern="1200" cap="none" spc="0" normalizeH="0" baseline="0" noProof="0">
                <a:ln>
                  <a:noFill/>
                </a:ln>
                <a:solidFill>
                  <a:srgbClr val="FFFFFF"/>
                </a:solidFill>
                <a:effectLst/>
                <a:uLnTx/>
                <a:uFillTx/>
                <a:latin typeface="Segoe Sans Text Semibold"/>
                <a:ea typeface="+mn-ea"/>
                <a:cs typeface="Segoe UI"/>
              </a:rPr>
              <a:t> AI</a:t>
            </a:r>
          </a:p>
        </p:txBody>
      </p:sp>
      <p:graphicFrame>
        <p:nvGraphicFramePr>
          <p:cNvPr id="286" name="Table 285">
            <a:extLst>
              <a:ext uri="{FF2B5EF4-FFF2-40B4-BE49-F238E27FC236}">
                <a16:creationId xmlns:a16="http://schemas.microsoft.com/office/drawing/2014/main" id="{D7B989DD-CD7E-034A-AACC-2B4257001550}"/>
              </a:ext>
            </a:extLst>
          </p:cNvPr>
          <p:cNvGraphicFramePr>
            <a:graphicFrameLocks noGrp="1"/>
          </p:cNvGraphicFramePr>
          <p:nvPr/>
        </p:nvGraphicFramePr>
        <p:xfrm>
          <a:off x="1803677" y="5840978"/>
          <a:ext cx="9691001" cy="365760"/>
        </p:xfrm>
        <a:graphic>
          <a:graphicData uri="http://schemas.openxmlformats.org/drawingml/2006/table">
            <a:tbl>
              <a:tblPr firstRow="1" bandRow="1">
                <a:effectLst>
                  <a:outerShdw blurRad="152400" dist="38100" dir="2700000" algn="tl" rotWithShape="0">
                    <a:prstClr val="black">
                      <a:alpha val="20000"/>
                    </a:prstClr>
                  </a:outerShdw>
                </a:effectLst>
                <a:tableStyleId>{2D5ABB26-0587-4C30-8999-92F81FD0307C}</a:tableStyleId>
              </a:tblPr>
              <a:tblGrid>
                <a:gridCol w="273446">
                  <a:extLst>
                    <a:ext uri="{9D8B030D-6E8A-4147-A177-3AD203B41FA5}">
                      <a16:colId xmlns:a16="http://schemas.microsoft.com/office/drawing/2014/main" val="2353794166"/>
                    </a:ext>
                  </a:extLst>
                </a:gridCol>
                <a:gridCol w="1322459">
                  <a:extLst>
                    <a:ext uri="{9D8B030D-6E8A-4147-A177-3AD203B41FA5}">
                      <a16:colId xmlns:a16="http://schemas.microsoft.com/office/drawing/2014/main" val="899803852"/>
                    </a:ext>
                  </a:extLst>
                </a:gridCol>
                <a:gridCol w="307434">
                  <a:extLst>
                    <a:ext uri="{9D8B030D-6E8A-4147-A177-3AD203B41FA5}">
                      <a16:colId xmlns:a16="http://schemas.microsoft.com/office/drawing/2014/main" val="3822473543"/>
                    </a:ext>
                  </a:extLst>
                </a:gridCol>
                <a:gridCol w="1108087">
                  <a:extLst>
                    <a:ext uri="{9D8B030D-6E8A-4147-A177-3AD203B41FA5}">
                      <a16:colId xmlns:a16="http://schemas.microsoft.com/office/drawing/2014/main" val="3493185966"/>
                    </a:ext>
                  </a:extLst>
                </a:gridCol>
                <a:gridCol w="272045">
                  <a:extLst>
                    <a:ext uri="{9D8B030D-6E8A-4147-A177-3AD203B41FA5}">
                      <a16:colId xmlns:a16="http://schemas.microsoft.com/office/drawing/2014/main" val="270975455"/>
                    </a:ext>
                  </a:extLst>
                </a:gridCol>
                <a:gridCol w="630350">
                  <a:extLst>
                    <a:ext uri="{9D8B030D-6E8A-4147-A177-3AD203B41FA5}">
                      <a16:colId xmlns:a16="http://schemas.microsoft.com/office/drawing/2014/main" val="1345521298"/>
                    </a:ext>
                  </a:extLst>
                </a:gridCol>
                <a:gridCol w="305222">
                  <a:extLst>
                    <a:ext uri="{9D8B030D-6E8A-4147-A177-3AD203B41FA5}">
                      <a16:colId xmlns:a16="http://schemas.microsoft.com/office/drawing/2014/main" val="2742070695"/>
                    </a:ext>
                  </a:extLst>
                </a:gridCol>
                <a:gridCol w="878222">
                  <a:extLst>
                    <a:ext uri="{9D8B030D-6E8A-4147-A177-3AD203B41FA5}">
                      <a16:colId xmlns:a16="http://schemas.microsoft.com/office/drawing/2014/main" val="902075052"/>
                    </a:ext>
                  </a:extLst>
                </a:gridCol>
                <a:gridCol w="273401">
                  <a:extLst>
                    <a:ext uri="{9D8B030D-6E8A-4147-A177-3AD203B41FA5}">
                      <a16:colId xmlns:a16="http://schemas.microsoft.com/office/drawing/2014/main" val="995067766"/>
                    </a:ext>
                  </a:extLst>
                </a:gridCol>
                <a:gridCol w="1217303">
                  <a:extLst>
                    <a:ext uri="{9D8B030D-6E8A-4147-A177-3AD203B41FA5}">
                      <a16:colId xmlns:a16="http://schemas.microsoft.com/office/drawing/2014/main" val="2147286661"/>
                    </a:ext>
                  </a:extLst>
                </a:gridCol>
                <a:gridCol w="243068">
                  <a:extLst>
                    <a:ext uri="{9D8B030D-6E8A-4147-A177-3AD203B41FA5}">
                      <a16:colId xmlns:a16="http://schemas.microsoft.com/office/drawing/2014/main" val="2580452302"/>
                    </a:ext>
                  </a:extLst>
                </a:gridCol>
                <a:gridCol w="1435261">
                  <a:extLst>
                    <a:ext uri="{9D8B030D-6E8A-4147-A177-3AD203B41FA5}">
                      <a16:colId xmlns:a16="http://schemas.microsoft.com/office/drawing/2014/main" val="2436152289"/>
                    </a:ext>
                  </a:extLst>
                </a:gridCol>
                <a:gridCol w="208344">
                  <a:extLst>
                    <a:ext uri="{9D8B030D-6E8A-4147-A177-3AD203B41FA5}">
                      <a16:colId xmlns:a16="http://schemas.microsoft.com/office/drawing/2014/main" val="3665304483"/>
                    </a:ext>
                  </a:extLst>
                </a:gridCol>
                <a:gridCol w="1216359">
                  <a:extLst>
                    <a:ext uri="{9D8B030D-6E8A-4147-A177-3AD203B41FA5}">
                      <a16:colId xmlns:a16="http://schemas.microsoft.com/office/drawing/2014/main" val="184971087"/>
                    </a:ext>
                  </a:extLst>
                </a:gridCol>
              </a:tblGrid>
              <a:tr h="0">
                <a:tc>
                  <a:txBody>
                    <a:bodyPr/>
                    <a:lstStyle/>
                    <a:p>
                      <a:pPr algn="ct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Azure AI Content Safet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900">
                          <a:solidFill>
                            <a:schemeClr val="bg1"/>
                          </a:solidFill>
                        </a:rPr>
                        <a:t>Microsoft Defend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buNone/>
                      </a:pPr>
                      <a:endParaRPr lang="en-US" sz="900">
                        <a:solidFill>
                          <a:schemeClr val="bg1"/>
                        </a:solidFill>
                      </a:endParaRPr>
                    </a:p>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Entra I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Polic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Application Gatewa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l">
                        <a:buNone/>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Confidential Comput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a:solidFill>
                          <a:schemeClr val="bg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solidFill>
                            <a:schemeClr val="bg1"/>
                          </a:solidFill>
                        </a:rPr>
                        <a:t>Azure Backup</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698261653"/>
                  </a:ext>
                </a:extLst>
              </a:tr>
            </a:tbl>
          </a:graphicData>
        </a:graphic>
      </p:graphicFrame>
      <p:sp>
        <p:nvSpPr>
          <p:cNvPr id="287" name="Title 1">
            <a:extLst>
              <a:ext uri="{FF2B5EF4-FFF2-40B4-BE49-F238E27FC236}">
                <a16:creationId xmlns:a16="http://schemas.microsoft.com/office/drawing/2014/main" id="{4677A5A4-9803-E3CB-32FD-A0454E594AFF}"/>
              </a:ext>
            </a:extLst>
          </p:cNvPr>
          <p:cNvSpPr txBox="1">
            <a:spLocks/>
          </p:cNvSpPr>
          <p:nvPr/>
        </p:nvSpPr>
        <p:spPr>
          <a:xfrm>
            <a:off x="588263" y="457201"/>
            <a:ext cx="1101852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         Azure AI Foundry agent ecosystem</a:t>
            </a:r>
          </a:p>
        </p:txBody>
      </p:sp>
      <p:pic>
        <p:nvPicPr>
          <p:cNvPr id="2" name="Graphic 1">
            <a:extLst>
              <a:ext uri="{FF2B5EF4-FFF2-40B4-BE49-F238E27FC236}">
                <a16:creationId xmlns:a16="http://schemas.microsoft.com/office/drawing/2014/main" id="{3133ABDF-1061-C425-4CD9-7B78F29F6BAF}"/>
              </a:ext>
              <a:ext uri="{C183D7F6-B498-43B3-948B-1728B52AA6E4}">
                <adec:decorative xmlns:adec="http://schemas.microsoft.com/office/drawing/2017/decorative" val="1"/>
              </a:ext>
            </a:extLst>
          </p:cNvPr>
          <p:cNvPicPr>
            <a:picLocks noChangeAspect="1"/>
          </p:cNvPicPr>
          <p:nvPr/>
        </p:nvPicPr>
        <p:blipFill>
          <a:blip r:embed="rId106">
            <a:extLst>
              <a:ext uri="{96DAC541-7B7A-43D3-8B79-37D633B846F1}">
                <asvg:svgBlip xmlns:asvg="http://schemas.microsoft.com/office/drawing/2016/SVG/main" r:embed="rId107"/>
              </a:ext>
            </a:extLst>
          </a:blip>
          <a:stretch>
            <a:fillRect/>
          </a:stretch>
        </p:blipFill>
        <p:spPr>
          <a:xfrm>
            <a:off x="940442" y="4218370"/>
            <a:ext cx="281269" cy="277413"/>
          </a:xfrm>
          <a:prstGeom prst="rect">
            <a:avLst/>
          </a:prstGeom>
        </p:spPr>
      </p:pic>
    </p:spTree>
    <p:extLst>
      <p:ext uri="{BB962C8B-B14F-4D97-AF65-F5344CB8AC3E}">
        <p14:creationId xmlns:p14="http://schemas.microsoft.com/office/powerpoint/2010/main" val="2133022426"/>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200"/>
                                  </p:stCondLst>
                                  <p:childTnLst>
                                    <p:animMotion origin="layout" path="M 1.45833E-6 -1.85185E-6 L 0.00846 -1.85185E-6 " pathEditMode="relative" rAng="0" ptsTypes="AA">
                                      <p:cBhvr>
                                        <p:cTn id="9" dur="700" spd="-100000" fill="hold"/>
                                        <p:tgtEl>
                                          <p:spTgt spid="2"/>
                                        </p:tgtEl>
                                        <p:attrNameLst>
                                          <p:attrName>ppt_x</p:attrName>
                                          <p:attrName>ppt_y</p:attrName>
                                        </p:attrNameLst>
                                      </p:cBhvr>
                                      <p:rCtr x="4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569137C-E72A-B556-A95B-110536DF8926}"/>
              </a:ext>
            </a:extLst>
          </p:cNvPr>
          <p:cNvGraphicFramePr>
            <a:graphicFrameLocks noGrp="1"/>
          </p:cNvGraphicFramePr>
          <p:nvPr>
            <p:extLst>
              <p:ext uri="{D42A27DB-BD31-4B8C-83A1-F6EECF244321}">
                <p14:modId xmlns:p14="http://schemas.microsoft.com/office/powerpoint/2010/main" val="1021457641"/>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7006490"/>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9010696"/>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950432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6" name="Rounded Rectangle 6">
            <a:extLst>
              <a:ext uri="{FF2B5EF4-FFF2-40B4-BE49-F238E27FC236}">
                <a16:creationId xmlns:a16="http://schemas.microsoft.com/office/drawing/2014/main" id="{85A8E413-8591-F3F5-312E-8E6EFF9805D5}"/>
              </a:ext>
              <a:ext uri="{C183D7F6-B498-43B3-948B-1728B52AA6E4}">
                <adec:decorative xmlns:adec="http://schemas.microsoft.com/office/drawing/2017/decorative" val="1"/>
              </a:ext>
            </a:extLst>
          </p:cNvPr>
          <p:cNvSpPr>
            <a:spLocks/>
          </p:cNvSpPr>
          <p:nvPr/>
        </p:nvSpPr>
        <p:spPr bwMode="auto">
          <a:xfrm flipV="1">
            <a:off x="0" y="0"/>
            <a:ext cx="4232854" cy="6269038"/>
          </a:xfrm>
          <a:prstGeom prst="round1Rect">
            <a:avLst>
              <a:gd name="adj" fmla="val 5825"/>
            </a:avLst>
          </a:prstGeom>
          <a:solidFill>
            <a:schemeClr val="tx1">
              <a:lumMod val="90000"/>
              <a:lumOff val="10000"/>
              <a:alpha val="40000"/>
            </a:schemeClr>
          </a:solidFill>
          <a:ln>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7"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5" name="Freeform: Shape 4">
            <a:extLst>
              <a:ext uri="{FF2B5EF4-FFF2-40B4-BE49-F238E27FC236}">
                <a16:creationId xmlns:a16="http://schemas.microsoft.com/office/drawing/2014/main" id="{ABD94D8F-64B7-F3B1-8788-3A1A35F9C85C}"/>
              </a:ext>
              <a:ext uri="{C183D7F6-B498-43B3-948B-1728B52AA6E4}">
                <adec:decorative xmlns:adec="http://schemas.microsoft.com/office/drawing/2017/decorative" val="1"/>
              </a:ext>
            </a:extLst>
          </p:cNvPr>
          <p:cNvSpPr>
            <a:spLocks/>
          </p:cNvSpPr>
          <p:nvPr/>
        </p:nvSpPr>
        <p:spPr bwMode="auto">
          <a:xfrm flipV="1">
            <a:off x="0" y="0"/>
            <a:ext cx="4232854" cy="6269038"/>
          </a:xfrm>
          <a:custGeom>
            <a:avLst/>
            <a:gdLst>
              <a:gd name="connsiteX0" fmla="*/ 4232854 w 4232854"/>
              <a:gd name="connsiteY0" fmla="*/ 6269038 h 6269038"/>
              <a:gd name="connsiteX1" fmla="*/ 4232854 w 4232854"/>
              <a:gd name="connsiteY1" fmla="*/ 246226 h 6269038"/>
              <a:gd name="connsiteX2" fmla="*/ 3982950 w 4232854"/>
              <a:gd name="connsiteY2" fmla="*/ 0 h 6269038"/>
              <a:gd name="connsiteX3" fmla="*/ 0 w 4232854"/>
              <a:gd name="connsiteY3" fmla="*/ 0 h 6269038"/>
              <a:gd name="connsiteX4" fmla="*/ 0 w 4232854"/>
              <a:gd name="connsiteY4" fmla="*/ 1261386 h 6269038"/>
              <a:gd name="connsiteX0" fmla="*/ 0 w 4232854"/>
              <a:gd name="connsiteY0" fmla="*/ 1261386 h 6269038"/>
              <a:gd name="connsiteX1" fmla="*/ 4232854 w 4232854"/>
              <a:gd name="connsiteY1" fmla="*/ 6269038 h 6269038"/>
              <a:gd name="connsiteX2" fmla="*/ 4232854 w 4232854"/>
              <a:gd name="connsiteY2" fmla="*/ 246226 h 6269038"/>
              <a:gd name="connsiteX3" fmla="*/ 3982950 w 4232854"/>
              <a:gd name="connsiteY3" fmla="*/ 0 h 6269038"/>
              <a:gd name="connsiteX4" fmla="*/ 0 w 4232854"/>
              <a:gd name="connsiteY4" fmla="*/ 0 h 6269038"/>
              <a:gd name="connsiteX5" fmla="*/ 91440 w 4232854"/>
              <a:gd name="connsiteY5" fmla="*/ 1352826 h 6269038"/>
              <a:gd name="connsiteX0" fmla="*/ 0 w 4232854"/>
              <a:gd name="connsiteY0" fmla="*/ 1261386 h 6269038"/>
              <a:gd name="connsiteX1" fmla="*/ 4232854 w 4232854"/>
              <a:gd name="connsiteY1" fmla="*/ 6269038 h 6269038"/>
              <a:gd name="connsiteX2" fmla="*/ 4232854 w 4232854"/>
              <a:gd name="connsiteY2" fmla="*/ 246226 h 6269038"/>
              <a:gd name="connsiteX3" fmla="*/ 3982950 w 4232854"/>
              <a:gd name="connsiteY3" fmla="*/ 0 h 6269038"/>
              <a:gd name="connsiteX4" fmla="*/ 0 w 4232854"/>
              <a:gd name="connsiteY4" fmla="*/ 0 h 6269038"/>
              <a:gd name="connsiteX0" fmla="*/ 4232854 w 4232854"/>
              <a:gd name="connsiteY0" fmla="*/ 6269038 h 6269038"/>
              <a:gd name="connsiteX1" fmla="*/ 4232854 w 4232854"/>
              <a:gd name="connsiteY1" fmla="*/ 246226 h 6269038"/>
              <a:gd name="connsiteX2" fmla="*/ 3982950 w 4232854"/>
              <a:gd name="connsiteY2" fmla="*/ 0 h 6269038"/>
              <a:gd name="connsiteX3" fmla="*/ 0 w 4232854"/>
              <a:gd name="connsiteY3" fmla="*/ 0 h 6269038"/>
            </a:gdLst>
            <a:ahLst/>
            <a:cxnLst>
              <a:cxn ang="0">
                <a:pos x="connsiteX0" y="connsiteY0"/>
              </a:cxn>
              <a:cxn ang="0">
                <a:pos x="connsiteX1" y="connsiteY1"/>
              </a:cxn>
              <a:cxn ang="0">
                <a:pos x="connsiteX2" y="connsiteY2"/>
              </a:cxn>
              <a:cxn ang="0">
                <a:pos x="connsiteX3" y="connsiteY3"/>
              </a:cxn>
            </a:cxnLst>
            <a:rect l="l" t="t" r="r" b="b"/>
            <a:pathLst>
              <a:path w="4232854" h="6269038">
                <a:moveTo>
                  <a:pt x="4232854" y="6269038"/>
                </a:moveTo>
                <a:lnTo>
                  <a:pt x="4232854" y="246226"/>
                </a:lnTo>
                <a:cubicBezTo>
                  <a:pt x="4232854" y="110239"/>
                  <a:pt x="4120968" y="0"/>
                  <a:pt x="3982950" y="0"/>
                </a:cubicBezTo>
                <a:lnTo>
                  <a:pt x="0" y="0"/>
                </a:lnTo>
              </a:path>
            </a:pathLst>
          </a:custGeom>
          <a:noFill/>
          <a:ln w="1270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4" name="Title 3">
            <a:extLst>
              <a:ext uri="{FF2B5EF4-FFF2-40B4-BE49-F238E27FC236}">
                <a16:creationId xmlns:a16="http://schemas.microsoft.com/office/drawing/2014/main" id="{25E7AEB1-D627-0D5C-5C46-C1E53B0E7A7F}"/>
              </a:ext>
            </a:extLst>
          </p:cNvPr>
          <p:cNvSpPr>
            <a:spLocks noGrp="1"/>
          </p:cNvSpPr>
          <p:nvPr>
            <p:ph type="title"/>
          </p:nvPr>
        </p:nvSpPr>
        <p:spPr>
          <a:xfrm>
            <a:off x="588963" y="457200"/>
            <a:ext cx="3196456" cy="1107996"/>
          </a:xfrm>
        </p:spPr>
        <p:txBody>
          <a:bodyPr/>
          <a:lstStyle/>
          <a:p>
            <a:r>
              <a:rPr lang="en-US">
                <a:gradFill flip="none" rotWithShape="1">
                  <a:gsLst>
                    <a:gs pos="12000">
                      <a:srgbClr val="D59ED7"/>
                    </a:gs>
                    <a:gs pos="86000">
                      <a:srgbClr val="8DC8E8"/>
                    </a:gs>
                  </a:gsLst>
                  <a:lin ang="10800000" scaled="1"/>
                  <a:tileRect/>
                </a:gradFill>
                <a:ea typeface="+mj-ea"/>
                <a:cs typeface="+mj-cs"/>
              </a:rPr>
              <a:t>Copilot Studio </a:t>
            </a:r>
            <a:r>
              <a:rPr lang="en-US"/>
              <a:t>+ </a:t>
            </a:r>
            <a:r>
              <a:rPr lang="en-US">
                <a:gradFill flip="none" rotWithShape="1">
                  <a:gsLst>
                    <a:gs pos="12000">
                      <a:srgbClr val="D59ED7"/>
                    </a:gs>
                    <a:gs pos="86000">
                      <a:srgbClr val="8DC8E8"/>
                    </a:gs>
                  </a:gsLst>
                  <a:lin ang="10800000" scaled="1"/>
                  <a:tileRect/>
                </a:gradFill>
                <a:ea typeface="+mj-ea"/>
                <a:cs typeface="+mj-cs"/>
              </a:rPr>
              <a:t>AI Foundry</a:t>
            </a:r>
          </a:p>
        </p:txBody>
      </p:sp>
      <p:sp>
        <p:nvSpPr>
          <p:cNvPr id="7" name="Bubble 3">
            <a:extLst>
              <a:ext uri="{FF2B5EF4-FFF2-40B4-BE49-F238E27FC236}">
                <a16:creationId xmlns:a16="http://schemas.microsoft.com/office/drawing/2014/main" id="{387716D3-9596-9773-05A6-2BF668F91D27}"/>
              </a:ext>
              <a:ext uri="{C183D7F6-B498-43B3-948B-1728B52AA6E4}">
                <adec:decorative xmlns:adec="http://schemas.microsoft.com/office/drawing/2017/decorative" val="1"/>
              </a:ext>
            </a:extLst>
          </p:cNvPr>
          <p:cNvSpPr>
            <a:spLocks/>
          </p:cNvSpPr>
          <p:nvPr/>
        </p:nvSpPr>
        <p:spPr bwMode="auto">
          <a:xfrm>
            <a:off x="4559300" y="585788"/>
            <a:ext cx="7061201" cy="5683250"/>
          </a:xfrm>
          <a:prstGeom prst="roundRect">
            <a:avLst>
              <a:gd name="adj" fmla="val 3853"/>
            </a:avLst>
          </a:prstGeom>
          <a:solidFill>
            <a:srgbClr val="0616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7"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8" name="Bubble 3">
            <a:extLst>
              <a:ext uri="{FF2B5EF4-FFF2-40B4-BE49-F238E27FC236}">
                <a16:creationId xmlns:a16="http://schemas.microsoft.com/office/drawing/2014/main" id="{0216E742-B9EE-E685-050E-37D546793A8E}"/>
              </a:ext>
              <a:ext uri="{C183D7F6-B498-43B3-948B-1728B52AA6E4}">
                <adec:decorative xmlns:adec="http://schemas.microsoft.com/office/drawing/2017/decorative" val="1"/>
              </a:ext>
            </a:extLst>
          </p:cNvPr>
          <p:cNvSpPr>
            <a:spLocks/>
          </p:cNvSpPr>
          <p:nvPr/>
        </p:nvSpPr>
        <p:spPr bwMode="auto">
          <a:xfrm>
            <a:off x="4788943" y="806452"/>
            <a:ext cx="3787898" cy="1813772"/>
          </a:xfrm>
          <a:prstGeom prst="roundRect">
            <a:avLst>
              <a:gd name="adj" fmla="val 5878"/>
            </a:avLst>
          </a:prstGeom>
          <a:solidFill>
            <a:srgbClr val="0D2B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Bubble 3">
            <a:extLst>
              <a:ext uri="{FF2B5EF4-FFF2-40B4-BE49-F238E27FC236}">
                <a16:creationId xmlns:a16="http://schemas.microsoft.com/office/drawing/2014/main" id="{9F922FE1-80B7-34C1-4DB7-3928D6C7E7E4}"/>
              </a:ext>
              <a:ext uri="{C183D7F6-B498-43B3-948B-1728B52AA6E4}">
                <adec:decorative xmlns:adec="http://schemas.microsoft.com/office/drawing/2017/decorative" val="1"/>
              </a:ext>
            </a:extLst>
          </p:cNvPr>
          <p:cNvSpPr>
            <a:spLocks/>
          </p:cNvSpPr>
          <p:nvPr/>
        </p:nvSpPr>
        <p:spPr bwMode="auto">
          <a:xfrm>
            <a:off x="4788943" y="4234604"/>
            <a:ext cx="3787898" cy="1813772"/>
          </a:xfrm>
          <a:prstGeom prst="roundRect">
            <a:avLst>
              <a:gd name="adj" fmla="val 5878"/>
            </a:avLst>
          </a:prstGeom>
          <a:solidFill>
            <a:srgbClr val="0D2B3D"/>
          </a:solidFill>
          <a:ln w="12700" cap="rnd">
            <a:gradFill flip="none" rotWithShape="1">
              <a:gsLst>
                <a:gs pos="80000">
                  <a:schemeClr val="accent2"/>
                </a:gs>
                <a:gs pos="0">
                  <a:schemeClr val="accent3"/>
                </a:gs>
              </a:gsLst>
              <a:lin ang="2700000" scaled="1"/>
              <a:tileRect/>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3" rtl="0" eaLnBrk="1" fontAlgn="base" latinLnBrk="0" hangingPunct="1">
              <a:lnSpc>
                <a:spcPct val="100000"/>
              </a:lnSpc>
              <a:spcBef>
                <a:spcPct val="0"/>
              </a:spcBef>
              <a:spcAft>
                <a:spcPts val="1200"/>
              </a:spcAft>
              <a:buClrTx/>
              <a:buSzPct val="90000"/>
              <a:buFontTx/>
              <a:buNone/>
              <a:tabLst>
                <a:tab pos="1371710" algn="l"/>
              </a:tabLst>
              <a:defRPr/>
            </a:pPr>
            <a:endParaRPr kumimoji="0" lang="en-US" sz="1200" b="0" i="0" u="none" strike="noStrike" kern="1200" cap="none" spc="0" normalizeH="0" baseline="0" noProof="0">
              <a:ln w="3175">
                <a:noFill/>
              </a:ln>
              <a:solidFill>
                <a:srgbClr val="FFFFFF"/>
              </a:solidFill>
              <a:effectLst/>
              <a:uLnTx/>
              <a:uFillTx/>
              <a:latin typeface="Segoe Sans Display Semibold"/>
              <a:ea typeface="+mn-ea"/>
              <a:cs typeface="+mn-cs"/>
            </a:endParaRPr>
          </a:p>
        </p:txBody>
      </p:sp>
      <p:pic>
        <p:nvPicPr>
          <p:cNvPr id="10" name="Graphic 9">
            <a:extLst>
              <a:ext uri="{FF2B5EF4-FFF2-40B4-BE49-F238E27FC236}">
                <a16:creationId xmlns:a16="http://schemas.microsoft.com/office/drawing/2014/main" id="{0CF64F20-BF66-53D9-AF86-0959E0F87DC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00552" y="4904671"/>
            <a:ext cx="380855" cy="380854"/>
          </a:xfrm>
          <a:prstGeom prst="rect">
            <a:avLst/>
          </a:prstGeom>
        </p:spPr>
      </p:pic>
      <p:pic>
        <p:nvPicPr>
          <p:cNvPr id="11" name="Graphic 10">
            <a:extLst>
              <a:ext uri="{FF2B5EF4-FFF2-40B4-BE49-F238E27FC236}">
                <a16:creationId xmlns:a16="http://schemas.microsoft.com/office/drawing/2014/main" id="{5D44988E-068D-93EC-E1A8-5DFDF7EDBB0C}"/>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83395" y="5416471"/>
            <a:ext cx="415168" cy="415168"/>
          </a:xfrm>
          <a:prstGeom prst="rect">
            <a:avLst/>
          </a:prstGeom>
        </p:spPr>
      </p:pic>
      <p:sp>
        <p:nvSpPr>
          <p:cNvPr id="13" name="Text Placeholder 2">
            <a:extLst>
              <a:ext uri="{FF2B5EF4-FFF2-40B4-BE49-F238E27FC236}">
                <a16:creationId xmlns:a16="http://schemas.microsoft.com/office/drawing/2014/main" id="{2277976C-860D-3219-0F4B-DC1273787AAB}"/>
              </a:ext>
            </a:extLst>
          </p:cNvPr>
          <p:cNvSpPr txBox="1">
            <a:spLocks/>
          </p:cNvSpPr>
          <p:nvPr/>
        </p:nvSpPr>
        <p:spPr>
          <a:xfrm>
            <a:off x="588963" y="2101321"/>
            <a:ext cx="3420230" cy="2846933"/>
          </a:xfrm>
          <a:prstGeom prst="rect">
            <a:avLst/>
          </a:prstGeom>
          <a:noFill/>
        </p:spPr>
        <p:txBody>
          <a:bodyPr vert="horz" wrap="square" lIns="0" tIns="0" rIns="0" bIns="0" rtlCol="0">
            <a:sp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lang="en-US" sz="2000" kern="0" spc="0" dirty="0" smtClean="0">
                <a:ln w="3175">
                  <a:noFill/>
                </a:ln>
                <a:solidFill>
                  <a:srgbClr val="2C292A"/>
                </a:solidFill>
                <a:latin typeface="+mn-lt"/>
                <a:ea typeface="+mn-ea"/>
                <a:cs typeface="Segoe UI" panose="020B0502040204020203" pitchFamily="34" charset="0"/>
              </a:defRPr>
            </a:lvl1pPr>
            <a:lvl2pPr marL="461963"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2pPr>
            <a:lvl3pPr marL="682625" indent="-220663"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1146175" indent="-228600" algn="l" defTabSz="914400" rtl="0" eaLnBrk="1" latinLnBrk="0" hangingPunct="1">
              <a:lnSpc>
                <a:spcPct val="90000"/>
              </a:lnSpc>
              <a:spcBef>
                <a:spcPts val="500"/>
              </a:spcBef>
              <a:buFont typeface="Arial" panose="020B0604020202020204" pitchFamily="34" charset="0"/>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0" cap="none" spc="0" normalizeH="0" baseline="0" noProof="0">
                <a:ln w="3175">
                  <a:noFill/>
                </a:ln>
                <a:solidFill>
                  <a:srgbClr val="FFFFFF"/>
                </a:solidFill>
                <a:effectLst/>
                <a:uLnTx/>
                <a:uFillTx/>
                <a:latin typeface="Segoe Sans Display"/>
                <a:ea typeface="+mn-ea"/>
                <a:cs typeface="Segoe UI" panose="020B0502040204020203" pitchFamily="34" charset="0"/>
              </a:rPr>
              <a:t>An integration capability allows customers to configure Copilot Studio to use their own model deployment in Azure AI Foundry for generative answer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0" cap="none" spc="0" normalizeH="0" baseline="0" noProof="0">
                <a:ln w="3175">
                  <a:noFill/>
                </a:ln>
                <a:solidFill>
                  <a:srgbClr val="FFFFFF"/>
                </a:solidFill>
                <a:effectLst/>
                <a:uLnTx/>
                <a:uFillTx/>
                <a:latin typeface="Segoe Sans Display"/>
                <a:ea typeface="+mn-ea"/>
                <a:cs typeface="Segoe UI" panose="020B0502040204020203" pitchFamily="34" charset="0"/>
              </a:rPr>
              <a:t>There are benefits to using both together as illustrated on the right.</a:t>
            </a:r>
          </a:p>
        </p:txBody>
      </p:sp>
      <p:sp>
        <p:nvSpPr>
          <p:cNvPr id="16" name="Text Placeholder 3">
            <a:extLst>
              <a:ext uri="{FF2B5EF4-FFF2-40B4-BE49-F238E27FC236}">
                <a16:creationId xmlns:a16="http://schemas.microsoft.com/office/drawing/2014/main" id="{2D768335-04F6-3916-9F23-A4D050B36814}"/>
              </a:ext>
            </a:extLst>
          </p:cNvPr>
          <p:cNvSpPr txBox="1">
            <a:spLocks/>
          </p:cNvSpPr>
          <p:nvPr/>
        </p:nvSpPr>
        <p:spPr>
          <a:xfrm>
            <a:off x="588963" y="5618741"/>
            <a:ext cx="3476625" cy="467416"/>
          </a:xfrm>
          <a:prstGeom prst="roundRect">
            <a:avLst>
              <a:gd name="adj" fmla="val 27177"/>
            </a:avLst>
          </a:prstGeom>
          <a:solidFill>
            <a:schemeClr val="tx1"/>
          </a:solidFill>
          <a:ln w="635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274" fontAlgn="base">
              <a:spcBef>
                <a:spcPct val="0"/>
              </a:spcBef>
              <a:spcAft>
                <a:spcPts val="400"/>
              </a:spcAft>
              <a:defRPr sz="1400" kern="0">
                <a:solidFill>
                  <a:schemeClr val="tx1">
                    <a:lumMod val="50000"/>
                    <a:lumOff val="50000"/>
                  </a:schemeClr>
                </a:solidFill>
                <a:latin typeface="+mj-lt"/>
                <a:cs typeface="Segoe UI" pitchFamily="34" charset="0"/>
              </a:defRPr>
            </a:lvl1pPr>
            <a:lvl2pPr marL="461963"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682625" indent="-220663"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1146175" indent="-228600" algn="l" defTabSz="914400" rtl="0" eaLnBrk="1" latinLnBrk="0" hangingPunct="1">
              <a:lnSpc>
                <a:spcPct val="90000"/>
              </a:lnSpc>
              <a:spcBef>
                <a:spcPts val="500"/>
              </a:spcBef>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32274" rtl="0" eaLnBrk="1" fontAlgn="base" latinLnBrk="0" hangingPunct="1">
              <a:lnSpc>
                <a:spcPct val="100000"/>
              </a:lnSpc>
              <a:spcBef>
                <a:spcPct val="0"/>
              </a:spcBef>
              <a:spcAft>
                <a:spcPts val="400"/>
              </a:spcAft>
              <a:buClrTx/>
              <a:buSzTx/>
              <a:buFontTx/>
              <a:buNone/>
              <a:tabLst/>
              <a:defRPr/>
            </a:pPr>
            <a:r>
              <a:rPr kumimoji="0" lang="it-IT" sz="1600" b="0" i="0" u="none" strike="noStrike" kern="0" cap="none" spc="0" normalizeH="0" baseline="0" noProof="0">
                <a:ln>
                  <a:noFill/>
                </a:ln>
                <a:solidFill>
                  <a:srgbClr val="091F2C">
                    <a:lumMod val="50000"/>
                    <a:lumOff val="50000"/>
                  </a:srgbClr>
                </a:solidFill>
                <a:effectLst/>
                <a:uLnTx/>
                <a:uFillTx/>
                <a:latin typeface="Segoe Sans Display Semibold"/>
                <a:ea typeface="+mn-ea"/>
                <a:cs typeface="Segoe UI" pitchFamily="34" charset="0"/>
                <a:hlinkClick r:id="rId7">
                  <a:extLst>
                    <a:ext uri="{A12FA001-AC4F-418D-AE19-62706E023703}">
                      <ahyp:hlinkClr xmlns:ahyp="http://schemas.microsoft.com/office/drawing/2018/hyperlinkcolor" val="tx"/>
                    </a:ext>
                  </a:extLst>
                </a:hlinkClick>
              </a:rPr>
              <a:t>Copilot Studio + Azure AI Foundry</a:t>
            </a:r>
            <a:endParaRPr kumimoji="0" lang="it-IT" sz="1600" b="0" i="0" u="none" strike="noStrike" kern="0" cap="none" spc="0" normalizeH="0" baseline="0" noProof="0">
              <a:ln>
                <a:noFill/>
              </a:ln>
              <a:solidFill>
                <a:srgbClr val="091F2C">
                  <a:lumMod val="50000"/>
                  <a:lumOff val="50000"/>
                </a:srgbClr>
              </a:solidFill>
              <a:effectLst/>
              <a:uLnTx/>
              <a:uFillTx/>
              <a:latin typeface="Segoe Sans Display Semibold"/>
              <a:ea typeface="+mn-ea"/>
              <a:cs typeface="Segoe UI" pitchFamily="34" charset="0"/>
            </a:endParaRPr>
          </a:p>
        </p:txBody>
      </p:sp>
      <p:grpSp>
        <p:nvGrpSpPr>
          <p:cNvPr id="17" name="Group 16" descr="Copilot Studio&#10;">
            <a:extLst>
              <a:ext uri="{FF2B5EF4-FFF2-40B4-BE49-F238E27FC236}">
                <a16:creationId xmlns:a16="http://schemas.microsoft.com/office/drawing/2014/main" id="{44B36FBF-42E2-16AC-B98A-29347036EACE}"/>
              </a:ext>
            </a:extLst>
          </p:cNvPr>
          <p:cNvGrpSpPr>
            <a:grpSpLocks/>
          </p:cNvGrpSpPr>
          <p:nvPr/>
        </p:nvGrpSpPr>
        <p:grpSpPr>
          <a:xfrm>
            <a:off x="5660368" y="1518973"/>
            <a:ext cx="2045049" cy="388730"/>
            <a:chOff x="5561399" y="1518973"/>
            <a:chExt cx="2045049" cy="388730"/>
          </a:xfrm>
        </p:grpSpPr>
        <p:pic>
          <p:nvPicPr>
            <p:cNvPr id="18" name="Graphic 75">
              <a:extLst>
                <a:ext uri="{FF2B5EF4-FFF2-40B4-BE49-F238E27FC236}">
                  <a16:creationId xmlns:a16="http://schemas.microsoft.com/office/drawing/2014/main" id="{D8DEAEDE-9BEB-671E-9E08-19FB88C6E9A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561399" y="1518973"/>
              <a:ext cx="408396" cy="388730"/>
            </a:xfrm>
            <a:prstGeom prst="rect">
              <a:avLst/>
            </a:prstGeom>
            <a:ln w="3870" cap="flat">
              <a:noFill/>
              <a:prstDash val="solid"/>
              <a:miter/>
            </a:ln>
          </p:spPr>
        </p:pic>
        <p:sp>
          <p:nvSpPr>
            <p:cNvPr id="19" name="TextBox 18">
              <a:extLst>
                <a:ext uri="{FF2B5EF4-FFF2-40B4-BE49-F238E27FC236}">
                  <a16:creationId xmlns:a16="http://schemas.microsoft.com/office/drawing/2014/main" id="{EECE2EB4-4189-3B85-EF2E-732F1CAE2750}"/>
                </a:ext>
              </a:extLst>
            </p:cNvPr>
            <p:cNvSpPr txBox="1"/>
            <p:nvPr/>
          </p:nvSpPr>
          <p:spPr>
            <a:xfrm>
              <a:off x="6080389" y="1566686"/>
              <a:ext cx="1526059" cy="27699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mn-cs"/>
                </a:rPr>
                <a:t>Copilot Studio</a:t>
              </a:r>
            </a:p>
          </p:txBody>
        </p:sp>
      </p:grpSp>
      <p:sp>
        <p:nvSpPr>
          <p:cNvPr id="20" name="Rectangle 19">
            <a:extLst>
              <a:ext uri="{FF2B5EF4-FFF2-40B4-BE49-F238E27FC236}">
                <a16:creationId xmlns:a16="http://schemas.microsoft.com/office/drawing/2014/main" id="{F2576DF6-CA22-5945-5A51-C0813ABA6585}"/>
              </a:ext>
            </a:extLst>
          </p:cNvPr>
          <p:cNvSpPr>
            <a:spLocks/>
          </p:cNvSpPr>
          <p:nvPr/>
        </p:nvSpPr>
        <p:spPr>
          <a:xfrm>
            <a:off x="8854633" y="764796"/>
            <a:ext cx="2547765" cy="1897083"/>
          </a:xfrm>
          <a:prstGeom prst="rect">
            <a:avLst/>
          </a:prstGeom>
          <a:noFill/>
          <a:ln w="38100" cap="flat" cmpd="sng" algn="ctr">
            <a:noFill/>
            <a:prstDash val="solid"/>
            <a:miter lim="800000"/>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Accessible Chatbot UI</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Deployable Anywher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Conversation Orchestra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Robust Securit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Fully Managed SaaS</a:t>
            </a:r>
          </a:p>
        </p:txBody>
      </p:sp>
      <p:sp>
        <p:nvSpPr>
          <p:cNvPr id="21" name="TextBox 20">
            <a:extLst>
              <a:ext uri="{FF2B5EF4-FFF2-40B4-BE49-F238E27FC236}">
                <a16:creationId xmlns:a16="http://schemas.microsoft.com/office/drawing/2014/main" id="{A129BA1C-54D0-98D0-A024-8BB658CB30D7}"/>
              </a:ext>
            </a:extLst>
          </p:cNvPr>
          <p:cNvSpPr txBox="1"/>
          <p:nvPr/>
        </p:nvSpPr>
        <p:spPr>
          <a:xfrm>
            <a:off x="4894042" y="3058082"/>
            <a:ext cx="1132977" cy="738664"/>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Sans Display Semibold"/>
                <a:ea typeface="+mn-ea"/>
                <a:cs typeface="+mn-cs"/>
              </a:rPr>
              <a:t>Request for generativ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Sans Display Semibold"/>
                <a:ea typeface="+mn-ea"/>
                <a:cs typeface="+mn-cs"/>
              </a:rPr>
              <a:t>answers</a:t>
            </a:r>
          </a:p>
        </p:txBody>
      </p:sp>
      <p:sp>
        <p:nvSpPr>
          <p:cNvPr id="23" name="Arrow: Right 22" descr="Arrow moving downards">
            <a:extLst>
              <a:ext uri="{FF2B5EF4-FFF2-40B4-BE49-F238E27FC236}">
                <a16:creationId xmlns:a16="http://schemas.microsoft.com/office/drawing/2014/main" id="{AAD1926C-1B4F-44CE-A40B-5DDCE5E77472}"/>
              </a:ext>
            </a:extLst>
          </p:cNvPr>
          <p:cNvSpPr/>
          <p:nvPr/>
        </p:nvSpPr>
        <p:spPr bwMode="auto">
          <a:xfrm rot="5400000">
            <a:off x="5769318" y="3052867"/>
            <a:ext cx="1199427" cy="409706"/>
          </a:xfrm>
          <a:prstGeom prst="rightArrow">
            <a:avLst>
              <a:gd name="adj1" fmla="val 50000"/>
              <a:gd name="adj2" fmla="val 59336"/>
            </a:avLst>
          </a:prstGeom>
          <a:gradFill flip="none" rotWithShape="1">
            <a:gsLst>
              <a:gs pos="0">
                <a:srgbClr val="091F2C">
                  <a:alpha val="0"/>
                </a:srgbClr>
              </a:gs>
              <a:gs pos="99000">
                <a:schemeClr val="tx1">
                  <a:lumMod val="50000"/>
                  <a:lumOff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5" name="Arrow: Right 24" descr="Arrow moving upwards">
            <a:extLst>
              <a:ext uri="{FF2B5EF4-FFF2-40B4-BE49-F238E27FC236}">
                <a16:creationId xmlns:a16="http://schemas.microsoft.com/office/drawing/2014/main" id="{ABB8BE12-A06C-4859-5D82-44CB9407701C}"/>
              </a:ext>
            </a:extLst>
          </p:cNvPr>
          <p:cNvSpPr/>
          <p:nvPr/>
        </p:nvSpPr>
        <p:spPr bwMode="auto">
          <a:xfrm rot="16200000">
            <a:off x="6398891" y="3392257"/>
            <a:ext cx="1199427" cy="409706"/>
          </a:xfrm>
          <a:prstGeom prst="rightArrow">
            <a:avLst>
              <a:gd name="adj1" fmla="val 50000"/>
              <a:gd name="adj2" fmla="val 59336"/>
            </a:avLst>
          </a:prstGeom>
          <a:gradFill flip="none" rotWithShape="1">
            <a:gsLst>
              <a:gs pos="0">
                <a:srgbClr val="091F2C">
                  <a:alpha val="0"/>
                </a:srgbClr>
              </a:gs>
              <a:gs pos="99000">
                <a:schemeClr val="accent1">
                  <a:lumMod val="40000"/>
                  <a:lumOff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7" name="TextBox 26">
            <a:extLst>
              <a:ext uri="{FF2B5EF4-FFF2-40B4-BE49-F238E27FC236}">
                <a16:creationId xmlns:a16="http://schemas.microsoft.com/office/drawing/2014/main" id="{1BEC00C7-B55C-956F-BAB9-A27F5FC9CB47}"/>
              </a:ext>
            </a:extLst>
          </p:cNvPr>
          <p:cNvSpPr txBox="1"/>
          <p:nvPr/>
        </p:nvSpPr>
        <p:spPr>
          <a:xfrm>
            <a:off x="7340619" y="3181192"/>
            <a:ext cx="1131124" cy="492443"/>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Sans Display Semibold"/>
                <a:ea typeface="+mn-ea"/>
                <a:cs typeface="+mn-cs"/>
              </a:rPr>
              <a:t>Genera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Sans Display Semibold"/>
                <a:ea typeface="+mn-ea"/>
                <a:cs typeface="+mn-cs"/>
              </a:rPr>
              <a:t>Answers</a:t>
            </a:r>
          </a:p>
        </p:txBody>
      </p:sp>
      <p:sp>
        <p:nvSpPr>
          <p:cNvPr id="30" name="TextBox 29">
            <a:extLst>
              <a:ext uri="{FF2B5EF4-FFF2-40B4-BE49-F238E27FC236}">
                <a16:creationId xmlns:a16="http://schemas.microsoft.com/office/drawing/2014/main" id="{981F20E4-8693-D8A8-0507-220C139CE1AE}"/>
              </a:ext>
            </a:extLst>
          </p:cNvPr>
          <p:cNvSpPr txBox="1">
            <a:spLocks/>
          </p:cNvSpPr>
          <p:nvPr/>
        </p:nvSpPr>
        <p:spPr>
          <a:xfrm>
            <a:off x="5442192" y="4451341"/>
            <a:ext cx="248140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mn-cs"/>
              </a:rPr>
              <a:t>Bring-your-own-Model</a:t>
            </a:r>
          </a:p>
        </p:txBody>
      </p:sp>
      <p:sp>
        <p:nvSpPr>
          <p:cNvPr id="31" name="TextBox 30">
            <a:extLst>
              <a:ext uri="{FF2B5EF4-FFF2-40B4-BE49-F238E27FC236}">
                <a16:creationId xmlns:a16="http://schemas.microsoft.com/office/drawing/2014/main" id="{22C2ABCC-97C5-9DC5-E604-B55DE6B92B5E}"/>
              </a:ext>
            </a:extLst>
          </p:cNvPr>
          <p:cNvSpPr txBox="1"/>
          <p:nvPr/>
        </p:nvSpPr>
        <p:spPr>
          <a:xfrm>
            <a:off x="6171798" y="4963113"/>
            <a:ext cx="1409040" cy="24622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mn-cs"/>
              </a:rPr>
              <a:t>Azure AI Search</a:t>
            </a:r>
          </a:p>
        </p:txBody>
      </p:sp>
      <p:sp>
        <p:nvSpPr>
          <p:cNvPr id="32" name="TextBox 31">
            <a:extLst>
              <a:ext uri="{FF2B5EF4-FFF2-40B4-BE49-F238E27FC236}">
                <a16:creationId xmlns:a16="http://schemas.microsoft.com/office/drawing/2014/main" id="{B91EEFD2-BE27-66D7-4FEE-74AF2C698DA9}"/>
              </a:ext>
            </a:extLst>
          </p:cNvPr>
          <p:cNvSpPr txBox="1"/>
          <p:nvPr/>
        </p:nvSpPr>
        <p:spPr>
          <a:xfrm>
            <a:off x="6168833" y="5500945"/>
            <a:ext cx="1513556" cy="24622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mn-cs"/>
              </a:rPr>
              <a:t>Azure AI Foundry</a:t>
            </a:r>
          </a:p>
        </p:txBody>
      </p:sp>
      <p:sp>
        <p:nvSpPr>
          <p:cNvPr id="35" name="Rectangle 34">
            <a:extLst>
              <a:ext uri="{FF2B5EF4-FFF2-40B4-BE49-F238E27FC236}">
                <a16:creationId xmlns:a16="http://schemas.microsoft.com/office/drawing/2014/main" id="{D02C62A0-1295-561B-DEE0-8F2805D599DF}"/>
              </a:ext>
            </a:extLst>
          </p:cNvPr>
          <p:cNvSpPr>
            <a:spLocks/>
          </p:cNvSpPr>
          <p:nvPr/>
        </p:nvSpPr>
        <p:spPr>
          <a:xfrm>
            <a:off x="8854633" y="4192948"/>
            <a:ext cx="2547766" cy="1897084"/>
          </a:xfrm>
          <a:prstGeom prst="rect">
            <a:avLst/>
          </a:prstGeom>
          <a:noFill/>
          <a:ln w="38100" cap="flat" cmpd="sng" algn="ctr">
            <a:noFill/>
            <a:prstDash val="solid"/>
            <a:miter lim="800000"/>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Guarantees Performanc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Offers Scalabilit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Deploy custom model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3,000 model catalog</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Display Semibold"/>
                <a:ea typeface="+mn-ea"/>
                <a:cs typeface="+mn-cs"/>
              </a:rPr>
              <a:t>GitHub &amp; VS integration</a:t>
            </a:r>
          </a:p>
        </p:txBody>
      </p:sp>
    </p:spTree>
    <p:extLst>
      <p:ext uri="{BB962C8B-B14F-4D97-AF65-F5344CB8AC3E}">
        <p14:creationId xmlns:p14="http://schemas.microsoft.com/office/powerpoint/2010/main" val="8012037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010B2-E10D-81B5-DC75-BEA92C99BDAF}"/>
              </a:ext>
            </a:extLst>
          </p:cNvPr>
          <p:cNvSpPr>
            <a:spLocks noGrp="1"/>
          </p:cNvSpPr>
          <p:nvPr>
            <p:ph type="title"/>
          </p:nvPr>
        </p:nvSpPr>
        <p:spPr>
          <a:xfrm>
            <a:off x="349475" y="111213"/>
            <a:ext cx="4723039" cy="1645920"/>
          </a:xfrm>
        </p:spPr>
        <p:txBody>
          <a:bodyPr vert="horz" lIns="91440" tIns="45720" rIns="91440" bIns="45720" rtlCol="0" anchor="ctr">
            <a:normAutofit/>
          </a:bodyPr>
          <a:lstStyle/>
          <a:p>
            <a:r>
              <a:rPr lang="en-US" sz="3200" kern="1200">
                <a:solidFill>
                  <a:schemeClr val="bg1"/>
                </a:solidFill>
                <a:latin typeface="+mj-lt"/>
                <a:ea typeface="+mj-ea"/>
                <a:cs typeface="+mj-cs"/>
              </a:rPr>
              <a:t>Executing hack - options</a:t>
            </a:r>
          </a:p>
        </p:txBody>
      </p:sp>
      <p:graphicFrame>
        <p:nvGraphicFramePr>
          <p:cNvPr id="4" name="Content Placeholder 3">
            <a:extLst>
              <a:ext uri="{FF2B5EF4-FFF2-40B4-BE49-F238E27FC236}">
                <a16:creationId xmlns:a16="http://schemas.microsoft.com/office/drawing/2014/main" id="{40B4F40B-A3B4-2E1D-2EB6-6452E3AB157E}"/>
              </a:ext>
            </a:extLst>
          </p:cNvPr>
          <p:cNvGraphicFramePr>
            <a:graphicFrameLocks noGrp="1"/>
          </p:cNvGraphicFramePr>
          <p:nvPr>
            <p:ph idx="1"/>
            <p:extLst>
              <p:ext uri="{D42A27DB-BD31-4B8C-83A1-F6EECF244321}">
                <p14:modId xmlns:p14="http://schemas.microsoft.com/office/powerpoint/2010/main" val="686726316"/>
              </p:ext>
            </p:extLst>
          </p:nvPr>
        </p:nvGraphicFramePr>
        <p:xfrm>
          <a:off x="349476" y="1770729"/>
          <a:ext cx="11493047" cy="4732390"/>
        </p:xfrm>
        <a:graphic>
          <a:graphicData uri="http://schemas.openxmlformats.org/drawingml/2006/table">
            <a:tbl>
              <a:tblPr firstRow="1" bandRow="1">
                <a:tableStyleId>{5C22544A-7EE6-4342-B048-85BDC9FD1C3A}</a:tableStyleId>
              </a:tblPr>
              <a:tblGrid>
                <a:gridCol w="2786469">
                  <a:extLst>
                    <a:ext uri="{9D8B030D-6E8A-4147-A177-3AD203B41FA5}">
                      <a16:colId xmlns:a16="http://schemas.microsoft.com/office/drawing/2014/main" val="1578669326"/>
                    </a:ext>
                  </a:extLst>
                </a:gridCol>
                <a:gridCol w="4316793">
                  <a:extLst>
                    <a:ext uri="{9D8B030D-6E8A-4147-A177-3AD203B41FA5}">
                      <a16:colId xmlns:a16="http://schemas.microsoft.com/office/drawing/2014/main" val="1153004720"/>
                    </a:ext>
                  </a:extLst>
                </a:gridCol>
                <a:gridCol w="4389785">
                  <a:extLst>
                    <a:ext uri="{9D8B030D-6E8A-4147-A177-3AD203B41FA5}">
                      <a16:colId xmlns:a16="http://schemas.microsoft.com/office/drawing/2014/main" val="2063347802"/>
                    </a:ext>
                  </a:extLst>
                </a:gridCol>
              </a:tblGrid>
              <a:tr h="412579">
                <a:tc>
                  <a:txBody>
                    <a:bodyPr/>
                    <a:lstStyle/>
                    <a:p>
                      <a:r>
                        <a:rPr lang="en-US" sz="1300"/>
                        <a:t>Challenges</a:t>
                      </a:r>
                    </a:p>
                  </a:txBody>
                  <a:tcPr marL="68375" marR="68375" marT="34188" marB="34188"/>
                </a:tc>
                <a:tc>
                  <a:txBody>
                    <a:bodyPr/>
                    <a:lstStyle/>
                    <a:p>
                      <a:r>
                        <a:rPr lang="en-US" sz="1300"/>
                        <a:t>Env – Tenant/Subs</a:t>
                      </a:r>
                    </a:p>
                  </a:txBody>
                  <a:tcPr marL="68375" marR="68375" marT="34188" marB="34188"/>
                </a:tc>
                <a:tc>
                  <a:txBody>
                    <a:bodyPr/>
                    <a:lstStyle/>
                    <a:p>
                      <a:r>
                        <a:rPr lang="en-US" sz="1300"/>
                        <a:t>Additional details</a:t>
                      </a:r>
                    </a:p>
                  </a:txBody>
                  <a:tcPr marL="68375" marR="68375" marT="34188" marB="34188"/>
                </a:tc>
                <a:extLst>
                  <a:ext uri="{0D108BD9-81ED-4DB2-BD59-A6C34878D82A}">
                    <a16:rowId xmlns:a16="http://schemas.microsoft.com/office/drawing/2014/main" val="3992562760"/>
                  </a:ext>
                </a:extLst>
              </a:tr>
              <a:tr h="412579">
                <a:tc>
                  <a:txBody>
                    <a:bodyPr/>
                    <a:lstStyle/>
                    <a:p>
                      <a:r>
                        <a:rPr lang="en-US" sz="1300"/>
                        <a:t>Ch1 - Copilot studio</a:t>
                      </a:r>
                    </a:p>
                  </a:txBody>
                  <a:tcPr marL="68375" marR="68375" marT="34188" marB="34188"/>
                </a:tc>
                <a:tc>
                  <a:txBody>
                    <a:bodyPr/>
                    <a:lstStyle/>
                    <a:p>
                      <a:r>
                        <a:rPr lang="en-US" sz="1300"/>
                        <a:t>External tenant or CDX</a:t>
                      </a:r>
                    </a:p>
                    <a:p>
                      <a:r>
                        <a:rPr lang="en-US" sz="1300"/>
                        <a:t>Known issue – Email trigger/AI Search index doesn’t work in Internal tenant. Coach should demo this. </a:t>
                      </a:r>
                    </a:p>
                  </a:txBody>
                  <a:tcPr marL="68375" marR="68375" marT="34188" marB="34188"/>
                </a:tc>
                <a:tc>
                  <a:txBody>
                    <a:bodyPr/>
                    <a:lstStyle/>
                    <a:p>
                      <a:r>
                        <a:rPr lang="en-US" sz="1300"/>
                        <a:t>E5, if you are using AI search index or email trigger option, then you will have DLP blocking issues in internal copilot studio preview env.</a:t>
                      </a:r>
                    </a:p>
                  </a:txBody>
                  <a:tcPr marL="68375" marR="68375" marT="34188" marB="34188"/>
                </a:tc>
                <a:extLst>
                  <a:ext uri="{0D108BD9-81ED-4DB2-BD59-A6C34878D82A}">
                    <a16:rowId xmlns:a16="http://schemas.microsoft.com/office/drawing/2014/main" val="2011617243"/>
                  </a:ext>
                </a:extLst>
              </a:tr>
              <a:tr h="412579">
                <a:tc>
                  <a:txBody>
                    <a:bodyPr/>
                    <a:lstStyle/>
                    <a:p>
                      <a:r>
                        <a:rPr lang="en-US" sz="1300"/>
                        <a:t>Ch2 – Foundry UI </a:t>
                      </a:r>
                    </a:p>
                  </a:txBody>
                  <a:tcPr marL="68375" marR="68375" marT="34188" marB="34188"/>
                </a:tc>
                <a:tc>
                  <a:txBody>
                    <a:bodyPr/>
                    <a:lstStyle/>
                    <a:p>
                      <a:r>
                        <a:rPr lang="en-US" sz="1300"/>
                        <a:t>Internal Microsoft non-prod, External tenant</a:t>
                      </a:r>
                    </a:p>
                  </a:txBody>
                  <a:tcPr marL="68375" marR="68375" marT="34188" marB="34188"/>
                </a:tc>
                <a:tc>
                  <a:txBody>
                    <a:bodyPr/>
                    <a:lstStyle/>
                    <a:p>
                      <a:r>
                        <a:rPr lang="en-US" sz="1300"/>
                        <a:t>Option 2 &amp; 3 - Github CodeSpace or local applies to CH3</a:t>
                      </a:r>
                    </a:p>
                  </a:txBody>
                  <a:tcPr marL="68375" marR="68375" marT="34188" marB="34188"/>
                </a:tc>
                <a:extLst>
                  <a:ext uri="{0D108BD9-81ED-4DB2-BD59-A6C34878D82A}">
                    <a16:rowId xmlns:a16="http://schemas.microsoft.com/office/drawing/2014/main" val="3539337578"/>
                  </a:ext>
                </a:extLst>
              </a:tr>
              <a:tr h="1294126">
                <a:tc>
                  <a:txBody>
                    <a:bodyPr/>
                    <a:lstStyle/>
                    <a:p>
                      <a:r>
                        <a:rPr lang="en-US" sz="1300"/>
                        <a:t>Ch3 – Code first</a:t>
                      </a:r>
                    </a:p>
                    <a:p>
                      <a:r>
                        <a:rPr lang="en-US" sz="1300"/>
                        <a:t>Run locally</a:t>
                      </a:r>
                    </a:p>
                  </a:txBody>
                  <a:tcPr marL="68375" marR="68375" marT="34188" marB="341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Internal Microsoft non-prod</a:t>
                      </a:r>
                    </a:p>
                  </a:txBody>
                  <a:tcPr marL="68375" marR="68375" marT="34188" marB="34188"/>
                </a:tc>
                <a:tc>
                  <a:txBody>
                    <a:bodyPr/>
                    <a:lstStyle/>
                    <a:p>
                      <a:r>
                        <a:rPr lang="en-US" sz="1300" kern="1200">
                          <a:solidFill>
                            <a:schemeClr val="dk1"/>
                          </a:solidFill>
                          <a:effectLst/>
                          <a:latin typeface="+mn-lt"/>
                          <a:ea typeface="+mn-ea"/>
                          <a:cs typeface="+mn-cs"/>
                        </a:rPr>
                        <a:t>Use appropriate login options – a) browser-based b) Service principal.</a:t>
                      </a:r>
                    </a:p>
                    <a:p>
                      <a:r>
                        <a:rPr lang="en-US" sz="1300" kern="1200">
                          <a:solidFill>
                            <a:schemeClr val="dk1"/>
                          </a:solidFill>
                          <a:effectLst/>
                          <a:latin typeface="+mn-lt"/>
                          <a:ea typeface="+mn-ea"/>
                          <a:cs typeface="+mn-cs"/>
                        </a:rPr>
                        <a:t>Change the path and update the env file, select appropriate python version &gt;3.10, make sure all python pkg installed</a:t>
                      </a:r>
                      <a:r>
                        <a:rPr lang="en-US" sz="1300">
                          <a:effectLst/>
                        </a:rPr>
                        <a:t> etc..</a:t>
                      </a:r>
                      <a:endParaRPr lang="en-US" sz="1300"/>
                    </a:p>
                  </a:txBody>
                  <a:tcPr marL="68375" marR="68375" marT="34188" marB="34188"/>
                </a:tc>
                <a:extLst>
                  <a:ext uri="{0D108BD9-81ED-4DB2-BD59-A6C34878D82A}">
                    <a16:rowId xmlns:a16="http://schemas.microsoft.com/office/drawing/2014/main" val="4239532165"/>
                  </a:ext>
                </a:extLst>
              </a:tr>
              <a:tr h="975185">
                <a:tc>
                  <a:txBody>
                    <a:bodyPr/>
                    <a:lstStyle/>
                    <a:p>
                      <a:r>
                        <a:rPr lang="en-US" sz="1300"/>
                        <a:t>Ch3 – Code first</a:t>
                      </a:r>
                    </a:p>
                    <a:p>
                      <a:r>
                        <a:rPr lang="en-US" sz="1300"/>
                        <a:t>Run in github code space</a:t>
                      </a:r>
                    </a:p>
                  </a:txBody>
                  <a:tcPr marL="68375" marR="68375" marT="34188" marB="341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Internal Microsoft non-prod, Exter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p>
                  </a:txBody>
                  <a:tcPr marL="68375" marR="68375" marT="34188" marB="341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a:solidFill>
                            <a:schemeClr val="dk1"/>
                          </a:solidFill>
                          <a:effectLst/>
                          <a:latin typeface="+mn-lt"/>
                          <a:ea typeface="+mn-ea"/>
                          <a:cs typeface="+mn-cs"/>
                        </a:rPr>
                        <a:t>Use appropriate login options – a) browser-based b) Service principal</a:t>
                      </a:r>
                      <a:endParaRPr lang="en-US" sz="1300"/>
                    </a:p>
                    <a:p>
                      <a:endParaRPr lang="en-US" sz="1300"/>
                    </a:p>
                  </a:txBody>
                  <a:tcPr marL="68375" marR="68375" marT="34188" marB="34188"/>
                </a:tc>
                <a:extLst>
                  <a:ext uri="{0D108BD9-81ED-4DB2-BD59-A6C34878D82A}">
                    <a16:rowId xmlns:a16="http://schemas.microsoft.com/office/drawing/2014/main" val="1405235469"/>
                  </a:ext>
                </a:extLst>
              </a:tr>
              <a:tr h="975185">
                <a:tc>
                  <a:txBody>
                    <a:bodyPr/>
                    <a:lstStyle/>
                    <a:p>
                      <a:r>
                        <a:rPr lang="en-US" sz="1300"/>
                        <a:t>Ch3 – Code first</a:t>
                      </a:r>
                    </a:p>
                    <a:p>
                      <a:r>
                        <a:rPr lang="en-US" sz="1300"/>
                        <a:t>Run locally with dev container + docker env</a:t>
                      </a:r>
                    </a:p>
                  </a:txBody>
                  <a:tcPr marL="68375" marR="68375" marT="34188" marB="341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Internal Microsoft non-prod, External</a:t>
                      </a:r>
                    </a:p>
                  </a:txBody>
                  <a:tcPr marL="68375" marR="68375" marT="34188" marB="3418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a:solidFill>
                            <a:schemeClr val="dk1"/>
                          </a:solidFill>
                          <a:effectLst/>
                          <a:latin typeface="+mn-lt"/>
                          <a:ea typeface="+mn-ea"/>
                          <a:cs typeface="+mn-cs"/>
                        </a:rPr>
                        <a:t>Use appropriate login options – a) browser-based b) Service principal</a:t>
                      </a:r>
                      <a:endParaRPr lang="en-US" sz="1300"/>
                    </a:p>
                    <a:p>
                      <a:endParaRPr lang="en-US" sz="1300"/>
                    </a:p>
                  </a:txBody>
                  <a:tcPr marL="68375" marR="68375" marT="34188" marB="34188"/>
                </a:tc>
                <a:extLst>
                  <a:ext uri="{0D108BD9-81ED-4DB2-BD59-A6C34878D82A}">
                    <a16:rowId xmlns:a16="http://schemas.microsoft.com/office/drawing/2014/main" val="3764133306"/>
                  </a:ext>
                </a:extLst>
              </a:tr>
            </a:tbl>
          </a:graphicData>
        </a:graphic>
      </p:graphicFrame>
      <p:sp>
        <p:nvSpPr>
          <p:cNvPr id="5" name="TextBox 4">
            <a:extLst>
              <a:ext uri="{FF2B5EF4-FFF2-40B4-BE49-F238E27FC236}">
                <a16:creationId xmlns:a16="http://schemas.microsoft.com/office/drawing/2014/main" id="{4378CA33-69B3-31C9-7ED6-B94D53479537}"/>
              </a:ext>
            </a:extLst>
          </p:cNvPr>
          <p:cNvSpPr txBox="1"/>
          <p:nvPr/>
        </p:nvSpPr>
        <p:spPr>
          <a:xfrm>
            <a:off x="5447417" y="111213"/>
            <a:ext cx="6002636" cy="1645920"/>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a:ln>
                  <a:noFill/>
                </a:ln>
                <a:solidFill>
                  <a:schemeClr val="bg1"/>
                </a:solidFill>
                <a:effectLst/>
                <a:uLnTx/>
                <a:uFillTx/>
                <a:latin typeface="Aptos" panose="02110004020202020204"/>
                <a:ea typeface="+mn-ea"/>
                <a:cs typeface="+mn-cs"/>
              </a:rPr>
              <a:t>NOTE: </a:t>
            </a:r>
            <a:r>
              <a:rPr kumimoji="0" lang="en-US" sz="1800" b="0" i="0" u="none" strike="noStrike" kern="1200" cap="none" spc="0" normalizeH="0" baseline="0" noProof="0">
                <a:ln>
                  <a:noFill/>
                </a:ln>
                <a:solidFill>
                  <a:schemeClr val="bg1"/>
                </a:solidFill>
                <a:effectLst/>
                <a:uLnTx/>
                <a:uFillTx/>
                <a:latin typeface="Aptos" panose="02110004020202020204"/>
                <a:ea typeface="+mn-ea"/>
                <a:cs typeface="+mn-cs"/>
              </a:rPr>
              <a:t>You don’t need E5 and Azure subscriptions in a single Tenant for executing these challeng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chemeClr val="bg1"/>
              </a:solidFill>
              <a:effectLst/>
              <a:uLnTx/>
              <a:uFillTx/>
              <a:latin typeface="Aptos" panose="0211000402020202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err="1">
                <a:ln>
                  <a:noFill/>
                </a:ln>
                <a:solidFill>
                  <a:schemeClr val="bg1"/>
                </a:solidFill>
                <a:effectLst/>
                <a:uLnTx/>
                <a:uFillTx/>
                <a:latin typeface="Aptos" panose="02110004020202020204"/>
                <a:ea typeface="+mn-ea"/>
                <a:cs typeface="+mn-cs"/>
              </a:rPr>
              <a:t>az</a:t>
            </a:r>
            <a:r>
              <a:rPr kumimoji="0" lang="en-US" sz="1800" b="0" i="0" u="none" strike="noStrike" kern="1200" cap="none" spc="0" normalizeH="0" baseline="0" noProof="0">
                <a:ln>
                  <a:noFill/>
                </a:ln>
                <a:solidFill>
                  <a:schemeClr val="bg1"/>
                </a:solidFill>
                <a:effectLst/>
                <a:uLnTx/>
                <a:uFillTx/>
                <a:latin typeface="Aptos" panose="02110004020202020204"/>
                <a:ea typeface="+mn-ea"/>
                <a:cs typeface="+mn-cs"/>
              </a:rPr>
              <a:t> login --tenant &lt;&lt;tenant id&gt;&gt; - If you have multiple subscripts in a tenant, please select appropriate one.</a:t>
            </a:r>
          </a:p>
        </p:txBody>
      </p:sp>
    </p:spTree>
    <p:extLst>
      <p:ext uri="{BB962C8B-B14F-4D97-AF65-F5344CB8AC3E}">
        <p14:creationId xmlns:p14="http://schemas.microsoft.com/office/powerpoint/2010/main" val="1771746678"/>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aphicFrame>
        <p:nvGraphicFramePr>
          <p:cNvPr id="4" name="Table 5">
            <a:extLst>
              <a:ext uri="{FF2B5EF4-FFF2-40B4-BE49-F238E27FC236}">
                <a16:creationId xmlns:a16="http://schemas.microsoft.com/office/drawing/2014/main" id="{E4FA47B0-9DBA-D4F8-04D9-1645ED03BB1A}"/>
              </a:ext>
            </a:extLst>
          </p:cNvPr>
          <p:cNvGraphicFramePr>
            <a:graphicFrameLocks noGrp="1"/>
          </p:cNvGraphicFramePr>
          <p:nvPr>
            <p:extLst>
              <p:ext uri="{D42A27DB-BD31-4B8C-83A1-F6EECF244321}">
                <p14:modId xmlns:p14="http://schemas.microsoft.com/office/powerpoint/2010/main" val="3395202890"/>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Aptos" panose="020B0004020202020204" pitchFamily="34" charset="0"/>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Aptos" panose="020B0004020202020204" pitchFamily="34" charset="0"/>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Aptos" panose="020B0004020202020204" pitchFamily="34" charset="0"/>
                          <a:ea typeface="+mn-ea"/>
                          <a:cs typeface="Segoe UI" pitchFamily="34" charset="0"/>
                        </a:rPr>
                        <a:t>Lunch</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Aptos" panose="020B0004020202020204" pitchFamily="34" charset="0"/>
                          <a:ea typeface="+mn-ea"/>
                          <a:cs typeface="Segoe UI" pitchFamily="34" charset="0"/>
                        </a:rPr>
                        <a:t>30 mins</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Aptos" panose="020B0004020202020204" pitchFamily="34" charset="0"/>
                          <a:ea typeface="+mn-ea"/>
                          <a:cs typeface="Segoe UI" pitchFamily="34" charset="0"/>
                        </a:rPr>
                        <a:t>11:50 – 12:20 P.M. (EST)</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1773937"/>
                  </a:ext>
                </a:extLst>
              </a:tr>
              <a:tr h="461037">
                <a:tc>
                  <a:txBody>
                    <a:bodyPr/>
                    <a:lstStyle/>
                    <a:p>
                      <a:pPr algn="ctr"/>
                      <a:r>
                        <a:rPr kumimoji="0" lang="en-US" sz="1800" b="1" i="0" u="none" strike="noStrike" kern="1200" cap="none" spc="-50" normalizeH="0" baseline="0" noProof="0">
                          <a:ln w="3175">
                            <a:noFill/>
                          </a:ln>
                          <a:solidFill>
                            <a:schemeClr val="bg1"/>
                          </a:solidFill>
                          <a:effectLst/>
                          <a:uLnTx/>
                          <a:uFillTx/>
                          <a:latin typeface="Aptos" panose="020B0004020202020204" pitchFamily="34" charset="0"/>
                          <a:ea typeface="+mn-ea"/>
                          <a:cs typeface="Segoe UI" pitchFamily="34" charset="0"/>
                        </a:rPr>
                        <a:t>Hands-On Hack</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solidFill>
                            <a:schemeClr val="bg1"/>
                          </a:solidFill>
                          <a:effectLst/>
                          <a:uLnTx/>
                          <a:uFillTx/>
                          <a:latin typeface="Aptos" panose="020B0004020202020204" pitchFamily="34" charset="0"/>
                          <a:ea typeface="+mn-ea"/>
                          <a:cs typeface="Segoe UI" pitchFamily="34" charset="0"/>
                        </a:rPr>
                        <a:t>60 mins</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solidFill>
                            <a:schemeClr val="bg1"/>
                          </a:solidFill>
                          <a:effectLst/>
                          <a:uLnTx/>
                          <a:uFillTx/>
                          <a:latin typeface="Aptos" panose="020B0004020202020204" pitchFamily="34" charset="0"/>
                          <a:ea typeface="+mn-ea"/>
                          <a:cs typeface="Segoe UI" pitchFamily="34" charset="0"/>
                        </a:rPr>
                        <a:t>12:20 – 1:20 P.M. (EST)</a:t>
                      </a:r>
                      <a:endParaRPr lang="en-US" sz="1800">
                        <a:solidFill>
                          <a:schemeClr val="bg1"/>
                        </a:solidFill>
                        <a:latin typeface="Aptos" panose="020B00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749239"/>
                  </a:ext>
                </a:extLst>
              </a:tr>
              <a:tr h="461037">
                <a:tc>
                  <a:txBody>
                    <a:bodyPr/>
                    <a:lstStyle/>
                    <a:p>
                      <a:pPr algn="ctr"/>
                      <a:r>
                        <a:rPr lang="en-US" sz="1800">
                          <a:solidFill>
                            <a:schemeClr val="bg1"/>
                          </a:solidFill>
                          <a:latin typeface="Aptos" panose="020B0004020202020204" pitchFamily="34" charset="0"/>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Aptos" panose="020B0004020202020204" pitchFamily="34" charset="0"/>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Aptos" panose="020B0004020202020204" pitchFamily="34" charset="0"/>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Aptos" panose="020B0004020202020204" pitchFamily="34" charset="0"/>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Aptos" panose="020B0004020202020204" pitchFamily="34" charset="0"/>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spTree>
    <p:extLst>
      <p:ext uri="{BB962C8B-B14F-4D97-AF65-F5344CB8AC3E}">
        <p14:creationId xmlns:p14="http://schemas.microsoft.com/office/powerpoint/2010/main" val="216117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674A50B1-C8C1-5422-E4EE-82B4CEE29D9D}"/>
              </a:ext>
            </a:extLst>
          </p:cNvPr>
          <p:cNvGraphicFramePr>
            <a:graphicFrameLocks noGrp="1"/>
          </p:cNvGraphicFramePr>
          <p:nvPr>
            <p:extLst>
              <p:ext uri="{D42A27DB-BD31-4B8C-83A1-F6EECF244321}">
                <p14:modId xmlns:p14="http://schemas.microsoft.com/office/powerpoint/2010/main" val="3228310937"/>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1773937"/>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20 – 1:2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749239"/>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30 – 2:3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6647974" cy="369332"/>
          </a:xfrm>
          <a:prstGeom prst="rect">
            <a:avLst/>
          </a:prstGeom>
          <a:noFill/>
        </p:spPr>
        <p:txBody>
          <a:bodyPr wrap="none" rtlCol="0">
            <a:spAutoFit/>
          </a:bodyPr>
          <a:lstStyle/>
          <a:p>
            <a:r>
              <a:rPr lang="en-US">
                <a:solidFill>
                  <a:schemeClr val="bg1"/>
                </a:solidFill>
              </a:rPr>
              <a:t>GitHub: 	</a:t>
            </a:r>
            <a:r>
              <a:rPr lang="en-US">
                <a:solidFill>
                  <a:srgbClr val="00B0F0"/>
                </a:solidFill>
                <a:hlinkClick r:id="rId4">
                  <a:extLst>
                    <a:ext uri="{A12FA001-AC4F-418D-AE19-62706E023703}">
                      <ahyp:hlinkClr xmlns:ahyp="http://schemas.microsoft.com/office/drawing/2018/hyperlinkcolor" val="tx"/>
                    </a:ext>
                  </a:extLst>
                </a:hlinkClick>
              </a:rPr>
              <a:t>https://github.com/Boykai/octo-microhack-agentic-ai</a:t>
            </a:r>
            <a:r>
              <a:rPr lang="en-US">
                <a:solidFill>
                  <a:srgbClr val="00B0F0"/>
                </a:solidFill>
              </a:rPr>
              <a:t> </a:t>
            </a:r>
            <a:r>
              <a:rPr lang="en-US">
                <a:solidFill>
                  <a:schemeClr val="bg1"/>
                </a:solidFill>
              </a:rPr>
              <a:t>	</a:t>
            </a:r>
            <a:endParaRPr lang="en-US"/>
          </a:p>
        </p:txBody>
      </p:sp>
    </p:spTree>
    <p:extLst>
      <p:ext uri="{BB962C8B-B14F-4D97-AF65-F5344CB8AC3E}">
        <p14:creationId xmlns:p14="http://schemas.microsoft.com/office/powerpoint/2010/main" val="1372010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Brea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116AB21F-6A99-5326-7895-B4E459684060}"/>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386924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BD022E9-AFB4-63DC-68AA-F3617EC1E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239256-24C0-F1B8-E6C7-C17371BAD85E}"/>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47E7FE8B-C7F1-613D-3529-1A04D822E8D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ACA3C1F8-524B-283B-08B2-1F709335FFF8}"/>
              </a:ext>
            </a:extLst>
          </p:cNvPr>
          <p:cNvGraphicFramePr>
            <a:graphicFrameLocks noGrp="1"/>
          </p:cNvGraphicFramePr>
          <p:nvPr>
            <p:extLst>
              <p:ext uri="{D42A27DB-BD31-4B8C-83A1-F6EECF244321}">
                <p14:modId xmlns:p14="http://schemas.microsoft.com/office/powerpoint/2010/main" val="3036317406"/>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4981778"/>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reak</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20 – 1:30 P.M. (EST)</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7040588"/>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5BDE91AB-6E67-62B0-E1BA-5AAC6A29D99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114190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C80C2D2D-3211-6DD8-E94A-78CAC34C6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77D6E9-38A3-D65F-5F10-69F5903B8CE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C0A44491-B1D9-8680-F1FC-67FF83F680F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55120DED-9CB4-82C5-CF2A-C0F0F5CE44E7}"/>
              </a:ext>
            </a:extLst>
          </p:cNvPr>
          <p:cNvGraphicFramePr>
            <a:graphicFrameLocks noGrp="1"/>
          </p:cNvGraphicFramePr>
          <p:nvPr>
            <p:extLst>
              <p:ext uri="{D42A27DB-BD31-4B8C-83A1-F6EECF244321}">
                <p14:modId xmlns:p14="http://schemas.microsoft.com/office/powerpoint/2010/main" val="3577862338"/>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0691590"/>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3116393"/>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how &amp; Tell</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30 – 3:15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11D9CB48-E182-4793-8D68-FC794F58A71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067808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2878802-1217-0501-74E3-AC8BD0B819D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2D4EDE2B-38E5-D87B-2869-DC2D32C1D44B}"/>
              </a:ext>
            </a:extLst>
          </p:cNvPr>
          <p:cNvGraphicFramePr>
            <a:graphicFrameLocks noGrp="1"/>
          </p:cNvGraphicFramePr>
          <p:nvPr>
            <p:extLst>
              <p:ext uri="{D42A27DB-BD31-4B8C-83A1-F6EECF244321}">
                <p14:modId xmlns:p14="http://schemas.microsoft.com/office/powerpoint/2010/main" val="3726798683"/>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416511"/>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589623"/>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Clos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5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3:15 – 3:30 P.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2448525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CBA4286-1D73-61F7-6D49-AA5418BF749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F0B7A87F-9081-F534-B2EB-7C939D03CF3B}"/>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040A3950-68E6-CAE9-4BC4-92592E15FB95}"/>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92ECBD9D-FBA1-4C62-52DE-F62A2A40BE50}"/>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6C1AB537-3512-CDBC-6C9D-9BC71A5D38AD}"/>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Thank YOU!</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7A2EB60D-8F20-E31D-08AC-DF1FEA273875}"/>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F41E5F67-B2D3-8E85-2DE5-BA79F5D4E7AA}"/>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9" name="TextBox 8">
            <a:extLst>
              <a:ext uri="{FF2B5EF4-FFF2-40B4-BE49-F238E27FC236}">
                <a16:creationId xmlns:a16="http://schemas.microsoft.com/office/drawing/2014/main" id="{6563B613-BEEF-FD81-1DA3-C2ADF88EA136}"/>
              </a:ext>
            </a:extLst>
          </p:cNvPr>
          <p:cNvSpPr txBox="1"/>
          <p:nvPr/>
        </p:nvSpPr>
        <p:spPr>
          <a:xfrm>
            <a:off x="1390761" y="5696795"/>
            <a:ext cx="5998464" cy="318805"/>
          </a:xfrm>
          <a:prstGeom prst="rect">
            <a:avLst/>
          </a:prstGeom>
          <a:noFill/>
        </p:spPr>
        <p:txBody>
          <a:bodyPr wrap="square" lIns="91440" tIns="45720" rIns="91440" bIns="45720" anchor="t">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400" i="0" strike="noStrike" kern="1200" cap="none" spc="-50" normalizeH="0" baseline="0" noProof="0">
                <a:ln w="3175">
                  <a:noFill/>
                </a:ln>
                <a:solidFill>
                  <a:schemeClr val="bg1"/>
                </a:solidFill>
                <a:effectLst/>
                <a:uLnTx/>
                <a:uFillTx/>
                <a:latin typeface="Segoe UI"/>
                <a:ea typeface="+mn-ea"/>
                <a:cs typeface="Segoe UI" pitchFamily="34" charset="0"/>
              </a:rPr>
              <a:t>Do not forget to Clean Up environment resources.</a:t>
            </a:r>
          </a:p>
        </p:txBody>
      </p:sp>
    </p:spTree>
    <p:extLst>
      <p:ext uri="{BB962C8B-B14F-4D97-AF65-F5344CB8AC3E}">
        <p14:creationId xmlns:p14="http://schemas.microsoft.com/office/powerpoint/2010/main" val="36212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CDECF837-EF79-FF30-ECB4-528570ACBEFE}"/>
              </a:ext>
            </a:extLst>
          </p:cNvPr>
          <p:cNvSpPr/>
          <p:nvPr/>
        </p:nvSpPr>
        <p:spPr bwMode="auto">
          <a:xfrm>
            <a:off x="2921620" y="1349243"/>
            <a:ext cx="7017834" cy="4456215"/>
          </a:xfrm>
          <a:prstGeom prst="rect">
            <a:avLst/>
          </a:prstGeom>
          <a:noFill/>
          <a:ln>
            <a:solidFill>
              <a:srgbClr val="0078D4"/>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7FC83D15-BB73-3672-F854-4D1AF2AD6F7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749689" y="5505034"/>
            <a:ext cx="457200" cy="457200"/>
          </a:xfrm>
          <a:prstGeom prst="rect">
            <a:avLst/>
          </a:prstGeom>
        </p:spPr>
      </p:pic>
      <p:sp>
        <p:nvSpPr>
          <p:cNvPr id="11" name="Rectangle 10">
            <a:extLst>
              <a:ext uri="{FF2B5EF4-FFF2-40B4-BE49-F238E27FC236}">
                <a16:creationId xmlns:a16="http://schemas.microsoft.com/office/drawing/2014/main" id="{AF440D77-1F36-1DE0-6B5B-D1935394FB04}"/>
              </a:ext>
            </a:extLst>
          </p:cNvPr>
          <p:cNvSpPr>
            <a:spLocks/>
          </p:cNvSpPr>
          <p:nvPr/>
        </p:nvSpPr>
        <p:spPr bwMode="invGray">
          <a:xfrm>
            <a:off x="2493765" y="5994063"/>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Copilot Studio</a:t>
            </a:r>
          </a:p>
        </p:txBody>
      </p:sp>
      <p:pic>
        <p:nvPicPr>
          <p:cNvPr id="12" name="!Copilot">
            <a:extLst>
              <a:ext uri="{FF2B5EF4-FFF2-40B4-BE49-F238E27FC236}">
                <a16:creationId xmlns:a16="http://schemas.microsoft.com/office/drawing/2014/main" id="{7CF8D132-E804-211C-2A6F-16FDE3506E3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027124" y="3200400"/>
            <a:ext cx="457200" cy="457200"/>
          </a:xfrm>
          <a:prstGeom prst="rect">
            <a:avLst/>
          </a:prstGeom>
          <a:noFill/>
          <a:ln>
            <a:noFill/>
            <a:headEnd type="none" w="med" len="med"/>
            <a:tailEnd type="none" w="med" len="med"/>
          </a:ln>
          <a:effectLst>
            <a:outerShdw blurRad="50800" dist="38100" dir="5400000" algn="t" rotWithShape="0">
              <a:prstClr val="black">
                <a:alpha val="40000"/>
              </a:prstClr>
            </a:outerShdw>
          </a:effectLst>
        </p:spPr>
      </p:pic>
      <p:sp>
        <p:nvSpPr>
          <p:cNvPr id="13" name="Rectangle 12">
            <a:extLst>
              <a:ext uri="{FF2B5EF4-FFF2-40B4-BE49-F238E27FC236}">
                <a16:creationId xmlns:a16="http://schemas.microsoft.com/office/drawing/2014/main" id="{F34F61C8-B280-C060-7232-43543655D935}"/>
              </a:ext>
            </a:extLst>
          </p:cNvPr>
          <p:cNvSpPr>
            <a:spLocks/>
          </p:cNvSpPr>
          <p:nvPr/>
        </p:nvSpPr>
        <p:spPr bwMode="invGray">
          <a:xfrm>
            <a:off x="6771200" y="3657600"/>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Copilot</a:t>
            </a:r>
            <a:r>
              <a:rPr kumimoji="0" lang="en-US" sz="900" i="0" u="none" strike="noStrike" kern="0" cap="none" normalizeH="0" noProof="0">
                <a:ln>
                  <a:noFill/>
                </a:ln>
                <a:solidFill>
                  <a:schemeClr val="bg1"/>
                </a:solidFill>
                <a:effectLst/>
                <a:uLnTx/>
                <a:uFillTx/>
                <a:latin typeface="+mj-lt"/>
                <a:ea typeface="+mj-ea"/>
                <a:cs typeface="+mj-cs"/>
              </a:rPr>
              <a:t> Model</a:t>
            </a:r>
            <a:endParaRPr kumimoji="0" lang="en-US" sz="900" i="0" u="none" strike="noStrike" kern="0" cap="none" normalizeH="0" baseline="0" noProof="0">
              <a:ln>
                <a:noFill/>
              </a:ln>
              <a:solidFill>
                <a:schemeClr val="bg1"/>
              </a:solidFill>
              <a:effectLst/>
              <a:uLnTx/>
              <a:uFillTx/>
              <a:latin typeface="+mj-lt"/>
              <a:ea typeface="+mj-ea"/>
              <a:cs typeface="+mj-cs"/>
            </a:endParaRPr>
          </a:p>
        </p:txBody>
      </p:sp>
      <p:pic>
        <p:nvPicPr>
          <p:cNvPr id="1026" name="Picture 2" descr="Microsoft outlook logo transparent PNG 29824490 PNG">
            <a:extLst>
              <a:ext uri="{FF2B5EF4-FFF2-40B4-BE49-F238E27FC236}">
                <a16:creationId xmlns:a16="http://schemas.microsoft.com/office/drawing/2014/main" id="{4E6BC502-2563-BC17-341F-5B6DBCEAEA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1133" y="3086100"/>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descr="User with solid fill">
            <a:extLst>
              <a:ext uri="{FF2B5EF4-FFF2-40B4-BE49-F238E27FC236}">
                <a16:creationId xmlns:a16="http://schemas.microsoft.com/office/drawing/2014/main" id="{17A1BC97-D4AD-AFEE-1164-26EBE01595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43305" y="3086100"/>
            <a:ext cx="685800" cy="685800"/>
          </a:xfrm>
          <a:prstGeom prst="rect">
            <a:avLst/>
          </a:prstGeom>
        </p:spPr>
      </p:pic>
      <p:cxnSp>
        <p:nvCxnSpPr>
          <p:cNvPr id="19" name="Straight Arrow Connector 18">
            <a:extLst>
              <a:ext uri="{FF2B5EF4-FFF2-40B4-BE49-F238E27FC236}">
                <a16:creationId xmlns:a16="http://schemas.microsoft.com/office/drawing/2014/main" id="{4B2D22D0-FCA4-8D82-C945-BBD430B7501F}"/>
              </a:ext>
            </a:extLst>
          </p:cNvPr>
          <p:cNvCxnSpPr>
            <a:cxnSpLocks/>
            <a:endCxn id="1026" idx="1"/>
          </p:cNvCxnSpPr>
          <p:nvPr/>
        </p:nvCxnSpPr>
        <p:spPr>
          <a:xfrm>
            <a:off x="2429105" y="3429000"/>
            <a:ext cx="1182028"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07B16BE-0B54-2F81-7EBD-96CFC773089C}"/>
              </a:ext>
            </a:extLst>
          </p:cNvPr>
          <p:cNvCxnSpPr>
            <a:cxnSpLocks/>
            <a:stCxn id="1026" idx="3"/>
            <a:endCxn id="1030" idx="1"/>
          </p:cNvCxnSpPr>
          <p:nvPr/>
        </p:nvCxnSpPr>
        <p:spPr>
          <a:xfrm>
            <a:off x="4296933" y="3429000"/>
            <a:ext cx="1079345"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Graphic 26" descr="Folder Search with solid fill">
            <a:extLst>
              <a:ext uri="{FF2B5EF4-FFF2-40B4-BE49-F238E27FC236}">
                <a16:creationId xmlns:a16="http://schemas.microsoft.com/office/drawing/2014/main" id="{A5CCA04F-C739-F66F-8FF8-D92FF4CD28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12824" y="1537010"/>
            <a:ext cx="685800" cy="685800"/>
          </a:xfrm>
          <a:prstGeom prst="rect">
            <a:avLst/>
          </a:prstGeom>
        </p:spPr>
      </p:pic>
      <p:sp>
        <p:nvSpPr>
          <p:cNvPr id="28" name="Rectangle 27">
            <a:extLst>
              <a:ext uri="{FF2B5EF4-FFF2-40B4-BE49-F238E27FC236}">
                <a16:creationId xmlns:a16="http://schemas.microsoft.com/office/drawing/2014/main" id="{35485352-CE25-D6FC-90E7-B6966B25C365}"/>
              </a:ext>
            </a:extLst>
          </p:cNvPr>
          <p:cNvSpPr>
            <a:spLocks/>
          </p:cNvSpPr>
          <p:nvPr/>
        </p:nvSpPr>
        <p:spPr bwMode="invGray">
          <a:xfrm>
            <a:off x="6771200" y="2222810"/>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Knowledge Base</a:t>
            </a:r>
          </a:p>
        </p:txBody>
      </p:sp>
      <p:cxnSp>
        <p:nvCxnSpPr>
          <p:cNvPr id="29" name="Straight Arrow Connector 28">
            <a:extLst>
              <a:ext uri="{FF2B5EF4-FFF2-40B4-BE49-F238E27FC236}">
                <a16:creationId xmlns:a16="http://schemas.microsoft.com/office/drawing/2014/main" id="{1A622717-7E4F-86E0-C5B2-1832FC63CD52}"/>
              </a:ext>
            </a:extLst>
          </p:cNvPr>
          <p:cNvCxnSpPr>
            <a:cxnSpLocks/>
            <a:stCxn id="12" idx="0"/>
            <a:endCxn id="28" idx="2"/>
          </p:cNvCxnSpPr>
          <p:nvPr/>
        </p:nvCxnSpPr>
        <p:spPr>
          <a:xfrm flipV="1">
            <a:off x="7255724" y="2361309"/>
            <a:ext cx="0" cy="839091"/>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46461FBB-4697-F534-85D2-E3BD151EA333}"/>
              </a:ext>
            </a:extLst>
          </p:cNvPr>
          <p:cNvSpPr>
            <a:spLocks/>
          </p:cNvSpPr>
          <p:nvPr/>
        </p:nvSpPr>
        <p:spPr bwMode="invGray">
          <a:xfrm>
            <a:off x="1601681" y="3727563"/>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User</a:t>
            </a:r>
          </a:p>
        </p:txBody>
      </p:sp>
      <p:sp>
        <p:nvSpPr>
          <p:cNvPr id="33" name="Rectangle 32">
            <a:extLst>
              <a:ext uri="{FF2B5EF4-FFF2-40B4-BE49-F238E27FC236}">
                <a16:creationId xmlns:a16="http://schemas.microsoft.com/office/drawing/2014/main" id="{4E7D933E-882B-05A6-19B7-6FB46B3417F4}"/>
              </a:ext>
            </a:extLst>
          </p:cNvPr>
          <p:cNvSpPr>
            <a:spLocks/>
          </p:cNvSpPr>
          <p:nvPr/>
        </p:nvSpPr>
        <p:spPr bwMode="invGray">
          <a:xfrm>
            <a:off x="3469509" y="3657600"/>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Outlook</a:t>
            </a:r>
          </a:p>
          <a:p>
            <a:pPr marL="0" marR="0" lvl="0" indent="0" algn="ctr" defTabSz="914400" rtl="0" eaLnBrk="1" fontAlgn="auto" latinLnBrk="0" hangingPunct="1">
              <a:spcBef>
                <a:spcPts val="0"/>
              </a:spcBef>
              <a:spcAft>
                <a:spcPts val="0"/>
              </a:spcAft>
              <a:buClrTx/>
              <a:buSzTx/>
              <a:buFontTx/>
              <a:buNone/>
              <a:tabLst/>
              <a:defRPr/>
            </a:pPr>
            <a:r>
              <a:rPr lang="en-US" sz="900" kern="0">
                <a:solidFill>
                  <a:schemeClr val="bg1"/>
                </a:solidFill>
                <a:latin typeface="+mj-lt"/>
                <a:ea typeface="+mj-ea"/>
                <a:cs typeface="+mj-cs"/>
              </a:rPr>
              <a:t>Email</a:t>
            </a:r>
            <a:endParaRPr kumimoji="0" lang="en-US" sz="900" i="0" u="none" strike="noStrike" kern="0" cap="none" normalizeH="0" baseline="0" noProof="0">
              <a:ln>
                <a:noFill/>
              </a:ln>
              <a:solidFill>
                <a:schemeClr val="bg1"/>
              </a:solidFill>
              <a:effectLst/>
              <a:uLnTx/>
              <a:uFillTx/>
              <a:latin typeface="+mj-lt"/>
              <a:ea typeface="+mj-ea"/>
              <a:cs typeface="+mj-cs"/>
            </a:endParaRPr>
          </a:p>
        </p:txBody>
      </p:sp>
      <p:pic>
        <p:nvPicPr>
          <p:cNvPr id="1028" name="Picture 4" descr="Bing logo in transparent PNG and vectorized SVG formats">
            <a:extLst>
              <a:ext uri="{FF2B5EF4-FFF2-40B4-BE49-F238E27FC236}">
                <a16:creationId xmlns:a16="http://schemas.microsoft.com/office/drawing/2014/main" id="{5A6AD57D-C0BE-0CE6-D4B8-C58ABCAFF0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66680" y="4761253"/>
            <a:ext cx="363220" cy="548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23F2AD9E-540A-09DA-9E7A-FC92C4FAAB4B}"/>
              </a:ext>
            </a:extLst>
          </p:cNvPr>
          <p:cNvSpPr>
            <a:spLocks/>
          </p:cNvSpPr>
          <p:nvPr/>
        </p:nvSpPr>
        <p:spPr bwMode="invGray">
          <a:xfrm>
            <a:off x="6749824" y="5370258"/>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Bing</a:t>
            </a:r>
            <a:r>
              <a:rPr kumimoji="0" lang="en-US" sz="900" i="0" u="none" strike="noStrike" kern="0" cap="none" normalizeH="0" noProof="0">
                <a:ln>
                  <a:noFill/>
                </a:ln>
                <a:solidFill>
                  <a:schemeClr val="bg1"/>
                </a:solidFill>
                <a:effectLst/>
                <a:uLnTx/>
                <a:uFillTx/>
                <a:latin typeface="+mj-lt"/>
                <a:ea typeface="+mj-ea"/>
                <a:cs typeface="+mj-cs"/>
              </a:rPr>
              <a:t> Web</a:t>
            </a:r>
            <a:endParaRPr kumimoji="0" lang="en-US" sz="900" i="0" u="none" strike="noStrike" kern="0" cap="none" normalizeH="0" baseline="0" noProof="0">
              <a:ln>
                <a:noFill/>
              </a:ln>
              <a:solidFill>
                <a:schemeClr val="bg1"/>
              </a:solidFill>
              <a:effectLst/>
              <a:uLnTx/>
              <a:uFillTx/>
              <a:latin typeface="+mj-lt"/>
              <a:ea typeface="+mj-ea"/>
              <a:cs typeface="+mj-cs"/>
            </a:endParaRPr>
          </a:p>
        </p:txBody>
      </p:sp>
      <p:cxnSp>
        <p:nvCxnSpPr>
          <p:cNvPr id="35" name="Straight Arrow Connector 34">
            <a:extLst>
              <a:ext uri="{FF2B5EF4-FFF2-40B4-BE49-F238E27FC236}">
                <a16:creationId xmlns:a16="http://schemas.microsoft.com/office/drawing/2014/main" id="{BA32459A-6259-004C-06B1-69CD88DF4E5A}"/>
              </a:ext>
            </a:extLst>
          </p:cNvPr>
          <p:cNvCxnSpPr>
            <a:cxnSpLocks/>
            <a:stCxn id="1028" idx="0"/>
            <a:endCxn id="13" idx="2"/>
          </p:cNvCxnSpPr>
          <p:nvPr/>
        </p:nvCxnSpPr>
        <p:spPr>
          <a:xfrm flipV="1">
            <a:off x="7248290" y="3796099"/>
            <a:ext cx="7434" cy="965154"/>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030" name="Picture 6" descr="Azure Content Moderator | New Relic">
            <a:extLst>
              <a:ext uri="{FF2B5EF4-FFF2-40B4-BE49-F238E27FC236}">
                <a16:creationId xmlns:a16="http://schemas.microsoft.com/office/drawing/2014/main" id="{076BE5F0-4A0E-FA26-7EEF-5859A3E1A15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76278" y="3200400"/>
            <a:ext cx="457200" cy="457200"/>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5A599781-835B-0BF5-38CC-DD28A554B1E4}"/>
              </a:ext>
            </a:extLst>
          </p:cNvPr>
          <p:cNvCxnSpPr>
            <a:cxnSpLocks/>
            <a:stCxn id="1030" idx="3"/>
            <a:endCxn id="12" idx="1"/>
          </p:cNvCxnSpPr>
          <p:nvPr/>
        </p:nvCxnSpPr>
        <p:spPr>
          <a:xfrm>
            <a:off x="5833478" y="3429000"/>
            <a:ext cx="1193646"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B057620-22F8-892A-3986-092498D876F7}"/>
              </a:ext>
            </a:extLst>
          </p:cNvPr>
          <p:cNvCxnSpPr>
            <a:cxnSpLocks/>
            <a:stCxn id="12" idx="3"/>
            <a:endCxn id="44" idx="1"/>
          </p:cNvCxnSpPr>
          <p:nvPr/>
        </p:nvCxnSpPr>
        <p:spPr>
          <a:xfrm>
            <a:off x="7484324" y="3429000"/>
            <a:ext cx="1194482"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4" name="Picture 6" descr="Azure Content Moderator | New Relic">
            <a:extLst>
              <a:ext uri="{FF2B5EF4-FFF2-40B4-BE49-F238E27FC236}">
                <a16:creationId xmlns:a16="http://schemas.microsoft.com/office/drawing/2014/main" id="{9FC6D54C-FA31-2DCC-73B3-01BD0FD0915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78806" y="320040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986500B3-FC4F-BC2E-CF04-608B4EBA9F3A}"/>
              </a:ext>
            </a:extLst>
          </p:cNvPr>
          <p:cNvSpPr>
            <a:spLocks/>
          </p:cNvSpPr>
          <p:nvPr/>
        </p:nvSpPr>
        <p:spPr bwMode="invGray">
          <a:xfrm>
            <a:off x="5120354" y="3726849"/>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Content</a:t>
            </a:r>
          </a:p>
          <a:p>
            <a:pPr marL="0" marR="0" lvl="0" indent="0" algn="ctr" defTabSz="914400" rtl="0" eaLnBrk="1" fontAlgn="auto" latinLnBrk="0" hangingPunct="1">
              <a:spcBef>
                <a:spcPts val="0"/>
              </a:spcBef>
              <a:spcAft>
                <a:spcPts val="0"/>
              </a:spcAft>
              <a:buClrTx/>
              <a:buSzTx/>
              <a:buFontTx/>
              <a:buNone/>
              <a:tabLst/>
              <a:defRPr/>
            </a:pPr>
            <a:r>
              <a:rPr lang="en-US" sz="900" kern="0" noProof="0">
                <a:solidFill>
                  <a:schemeClr val="bg1"/>
                </a:solidFill>
                <a:latin typeface="+mj-lt"/>
                <a:ea typeface="+mj-ea"/>
                <a:cs typeface="+mj-cs"/>
              </a:rPr>
              <a:t>Safety</a:t>
            </a:r>
            <a:endParaRPr kumimoji="0" lang="en-US" sz="900" i="0" u="none" strike="noStrike" kern="0" cap="none" normalizeH="0" baseline="0" noProof="0">
              <a:ln>
                <a:noFill/>
              </a:ln>
              <a:solidFill>
                <a:schemeClr val="bg1"/>
              </a:solidFill>
              <a:effectLst/>
              <a:uLnTx/>
              <a:uFillTx/>
              <a:latin typeface="+mj-lt"/>
              <a:ea typeface="+mj-ea"/>
              <a:cs typeface="+mj-cs"/>
            </a:endParaRPr>
          </a:p>
        </p:txBody>
      </p:sp>
      <p:sp>
        <p:nvSpPr>
          <p:cNvPr id="48" name="Rectangle 47">
            <a:extLst>
              <a:ext uri="{FF2B5EF4-FFF2-40B4-BE49-F238E27FC236}">
                <a16:creationId xmlns:a16="http://schemas.microsoft.com/office/drawing/2014/main" id="{90589513-702E-C9A6-88CD-E98899D1AFB7}"/>
              </a:ext>
            </a:extLst>
          </p:cNvPr>
          <p:cNvSpPr>
            <a:spLocks/>
          </p:cNvSpPr>
          <p:nvPr/>
        </p:nvSpPr>
        <p:spPr bwMode="invGray">
          <a:xfrm>
            <a:off x="8422882" y="3726848"/>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Content</a:t>
            </a:r>
          </a:p>
          <a:p>
            <a:pPr marL="0" marR="0" lvl="0" indent="0" algn="ctr" defTabSz="914400" rtl="0" eaLnBrk="1" fontAlgn="auto" latinLnBrk="0" hangingPunct="1">
              <a:spcBef>
                <a:spcPts val="0"/>
              </a:spcBef>
              <a:spcAft>
                <a:spcPts val="0"/>
              </a:spcAft>
              <a:buClrTx/>
              <a:buSzTx/>
              <a:buFontTx/>
              <a:buNone/>
              <a:tabLst/>
              <a:defRPr/>
            </a:pPr>
            <a:r>
              <a:rPr lang="en-US" sz="900" kern="0" noProof="0">
                <a:solidFill>
                  <a:schemeClr val="bg1"/>
                </a:solidFill>
                <a:latin typeface="+mj-lt"/>
                <a:ea typeface="+mj-ea"/>
                <a:cs typeface="+mj-cs"/>
              </a:rPr>
              <a:t>Safety</a:t>
            </a:r>
            <a:endParaRPr kumimoji="0" lang="en-US" sz="900" i="0" u="none" strike="noStrike" kern="0" cap="none" normalizeH="0" baseline="0" noProof="0">
              <a:ln>
                <a:noFill/>
              </a:ln>
              <a:solidFill>
                <a:schemeClr val="bg1"/>
              </a:solidFill>
              <a:effectLst/>
              <a:uLnTx/>
              <a:uFillTx/>
              <a:latin typeface="+mj-lt"/>
              <a:ea typeface="+mj-ea"/>
              <a:cs typeface="+mj-cs"/>
            </a:endParaRPr>
          </a:p>
        </p:txBody>
      </p:sp>
      <p:sp>
        <p:nvSpPr>
          <p:cNvPr id="51" name="Rectangle 50">
            <a:extLst>
              <a:ext uri="{FF2B5EF4-FFF2-40B4-BE49-F238E27FC236}">
                <a16:creationId xmlns:a16="http://schemas.microsoft.com/office/drawing/2014/main" id="{9BCF6BB4-AE37-AF9A-D868-37EB9B217E18}"/>
              </a:ext>
            </a:extLst>
          </p:cNvPr>
          <p:cNvSpPr>
            <a:spLocks/>
          </p:cNvSpPr>
          <p:nvPr/>
        </p:nvSpPr>
        <p:spPr bwMode="invGray">
          <a:xfrm>
            <a:off x="11151864" y="3702326"/>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User</a:t>
            </a:r>
          </a:p>
        </p:txBody>
      </p:sp>
      <p:cxnSp>
        <p:nvCxnSpPr>
          <p:cNvPr id="52" name="Straight Arrow Connector 51">
            <a:extLst>
              <a:ext uri="{FF2B5EF4-FFF2-40B4-BE49-F238E27FC236}">
                <a16:creationId xmlns:a16="http://schemas.microsoft.com/office/drawing/2014/main" id="{54ED1C05-89D2-BFA9-55FB-6995C089B773}"/>
              </a:ext>
            </a:extLst>
          </p:cNvPr>
          <p:cNvCxnSpPr>
            <a:cxnSpLocks/>
            <a:stCxn id="44" idx="3"/>
            <a:endCxn id="1034" idx="1"/>
          </p:cNvCxnSpPr>
          <p:nvPr/>
        </p:nvCxnSpPr>
        <p:spPr>
          <a:xfrm>
            <a:off x="9136006" y="3429000"/>
            <a:ext cx="842202"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6CBD8A5C-86C1-BE7A-D95A-1901B7BAA80A}"/>
              </a:ext>
            </a:extLst>
          </p:cNvPr>
          <p:cNvSpPr>
            <a:spLocks noGrp="1"/>
          </p:cNvSpPr>
          <p:nvPr>
            <p:ph type="title"/>
          </p:nvPr>
        </p:nvSpPr>
        <p:spPr>
          <a:xfrm>
            <a:off x="838200" y="396558"/>
            <a:ext cx="10515600" cy="553998"/>
          </a:xfrm>
        </p:spPr>
        <p:txBody>
          <a:bodyPr/>
          <a:lstStyle/>
          <a:p>
            <a:pPr algn="ctr"/>
            <a:r>
              <a:rPr lang="en-US">
                <a:solidFill>
                  <a:schemeClr val="bg1"/>
                </a:solidFill>
                <a:latin typeface="Segoe UI Semibold" panose="020B0702040204020203" pitchFamily="34" charset="0"/>
                <a:cs typeface="Segoe UI Semibold" panose="020B0702040204020203" pitchFamily="34" charset="0"/>
              </a:rPr>
              <a:t>Copilot Studio Architecture</a:t>
            </a:r>
          </a:p>
        </p:txBody>
      </p:sp>
      <p:pic>
        <p:nvPicPr>
          <p:cNvPr id="57" name="Graphic 56" descr="User with solid fill">
            <a:extLst>
              <a:ext uri="{FF2B5EF4-FFF2-40B4-BE49-F238E27FC236}">
                <a16:creationId xmlns:a16="http://schemas.microsoft.com/office/drawing/2014/main" id="{6386AF56-07A2-BD99-3830-BE0B2B6BC7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92931" y="3101090"/>
            <a:ext cx="685800" cy="685800"/>
          </a:xfrm>
          <a:prstGeom prst="rect">
            <a:avLst/>
          </a:prstGeom>
        </p:spPr>
      </p:pic>
      <p:pic>
        <p:nvPicPr>
          <p:cNvPr id="1034" name="Picture 10" descr="Teams Microsoft Teams Logo Transparent Clipart Full Size Clipart ...">
            <a:extLst>
              <a:ext uri="{FF2B5EF4-FFF2-40B4-BE49-F238E27FC236}">
                <a16:creationId xmlns:a16="http://schemas.microsoft.com/office/drawing/2014/main" id="{A4E34E35-2D78-CDF1-5A2F-285242F1C42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78208" y="3154680"/>
            <a:ext cx="891540" cy="548640"/>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Arrow Connector 58">
            <a:extLst>
              <a:ext uri="{FF2B5EF4-FFF2-40B4-BE49-F238E27FC236}">
                <a16:creationId xmlns:a16="http://schemas.microsoft.com/office/drawing/2014/main" id="{FEFA6981-2FF7-E39D-5874-A3C4E98E09DC}"/>
              </a:ext>
            </a:extLst>
          </p:cNvPr>
          <p:cNvCxnSpPr>
            <a:cxnSpLocks/>
            <a:stCxn id="1034" idx="3"/>
          </p:cNvCxnSpPr>
          <p:nvPr/>
        </p:nvCxnSpPr>
        <p:spPr>
          <a:xfrm>
            <a:off x="10869748" y="3429000"/>
            <a:ext cx="484052" cy="0"/>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024" name="Rectangle 1023">
            <a:extLst>
              <a:ext uri="{FF2B5EF4-FFF2-40B4-BE49-F238E27FC236}">
                <a16:creationId xmlns:a16="http://schemas.microsoft.com/office/drawing/2014/main" id="{4EFD1C12-17B2-DC15-A21D-0BFF0C0E3AF2}"/>
              </a:ext>
            </a:extLst>
          </p:cNvPr>
          <p:cNvSpPr>
            <a:spLocks/>
          </p:cNvSpPr>
          <p:nvPr/>
        </p:nvSpPr>
        <p:spPr bwMode="invGray">
          <a:xfrm>
            <a:off x="9947445" y="3713744"/>
            <a:ext cx="969048" cy="138499"/>
          </a:xfrm>
          <a:prstGeom prst="rect">
            <a:avLst/>
          </a:prstGeom>
        </p:spPr>
        <p:txBody>
          <a:bodyPr wrap="square" lIns="0" tIns="0" rIns="0" bIns="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i="0" u="none" strike="noStrike" kern="0" cap="none" normalizeH="0" baseline="0" noProof="0">
                <a:ln>
                  <a:noFill/>
                </a:ln>
                <a:solidFill>
                  <a:schemeClr val="bg1"/>
                </a:solidFill>
                <a:effectLst/>
                <a:uLnTx/>
                <a:uFillTx/>
                <a:latin typeface="+mj-lt"/>
                <a:ea typeface="+mj-ea"/>
                <a:cs typeface="+mj-cs"/>
              </a:rPr>
              <a:t>Teams</a:t>
            </a:r>
          </a:p>
        </p:txBody>
      </p:sp>
    </p:spTree>
    <p:extLst>
      <p:ext uri="{BB962C8B-B14F-4D97-AF65-F5344CB8AC3E}">
        <p14:creationId xmlns:p14="http://schemas.microsoft.com/office/powerpoint/2010/main" val="134527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42" presetClass="path" presetSubtype="0" accel="50000" decel="50000" fill="hold" nodeType="withEffect">
                                  <p:stCondLst>
                                    <p:cond delay="500"/>
                                  </p:stCondLst>
                                  <p:childTnLst>
                                    <p:animMotion origin="layout" path="M 2.91667E-6 3.7037E-7 L 0.00039 -0.01343 " pathEditMode="relative" rAng="0" ptsTypes="AA">
                                      <p:cBhvr>
                                        <p:cTn id="9" dur="750" spd="-100000" fill="hold"/>
                                        <p:tgtEl>
                                          <p:spTgt spid="9"/>
                                        </p:tgtEl>
                                        <p:attrNameLst>
                                          <p:attrName>ppt_x</p:attrName>
                                          <p:attrName>ppt_y</p:attrName>
                                        </p:attrNameLst>
                                      </p:cBhvr>
                                      <p:rCtr x="1300" y="-67100"/>
                                    </p:animMotion>
                                  </p:childTnLst>
                                </p:cTn>
                              </p:par>
                              <p:par>
                                <p:cTn id="10" presetID="10" presetClass="entr" presetSubtype="0" fill="hold" grpId="0"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42" presetClass="path" presetSubtype="0" accel="50000" decel="50000" fill="hold" grpId="1" nodeType="withEffect">
                                  <p:stCondLst>
                                    <p:cond delay="500"/>
                                  </p:stCondLst>
                                  <p:childTnLst>
                                    <p:animMotion origin="layout" path="M 2.91667E-6 -3.7037E-6 L 0.00039 -0.01342 " pathEditMode="relative" rAng="0" ptsTypes="AA">
                                      <p:cBhvr>
                                        <p:cTn id="14" dur="750" spd="-100000" fill="hold"/>
                                        <p:tgtEl>
                                          <p:spTgt spid="11"/>
                                        </p:tgtEl>
                                        <p:attrNameLst>
                                          <p:attrName>ppt_x</p:attrName>
                                          <p:attrName>ppt_y</p:attrName>
                                        </p:attrNameLst>
                                      </p:cBhvr>
                                      <p:rCtr x="1300" y="-67100"/>
                                    </p:animMotion>
                                  </p:childTnLst>
                                </p:cTn>
                              </p:par>
                              <p:par>
                                <p:cTn id="15" presetID="10" presetClass="entr" presetSubtype="0" fill="hold" grpId="0"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750"/>
                                        <p:tgtEl>
                                          <p:spTgt spid="13"/>
                                        </p:tgtEl>
                                      </p:cBhvr>
                                    </p:animEffect>
                                  </p:childTnLst>
                                </p:cTn>
                              </p:par>
                              <p:par>
                                <p:cTn id="18" presetID="42" presetClass="path" presetSubtype="0" accel="50000" decel="50000" fill="hold" grpId="1" nodeType="withEffect">
                                  <p:stCondLst>
                                    <p:cond delay="500"/>
                                  </p:stCondLst>
                                  <p:childTnLst>
                                    <p:animMotion origin="layout" path="M 2.91667E-6 -3.7037E-6 L 0.00039 -0.01342 " pathEditMode="relative" rAng="0" ptsTypes="AA">
                                      <p:cBhvr>
                                        <p:cTn id="19" dur="750" spd="-100000" fill="hold"/>
                                        <p:tgtEl>
                                          <p:spTgt spid="13"/>
                                        </p:tgtEl>
                                        <p:attrNameLst>
                                          <p:attrName>ppt_x</p:attrName>
                                          <p:attrName>ppt_y</p:attrName>
                                        </p:attrNameLst>
                                      </p:cBhvr>
                                      <p:rCtr x="1300" y="-67100"/>
                                    </p:animMotion>
                                  </p:childTnLst>
                                </p:cTn>
                              </p:par>
                              <p:par>
                                <p:cTn id="20" presetID="10" presetClass="entr" presetSubtype="0" fill="hold" grpId="0" nodeType="withEffect">
                                  <p:stCondLst>
                                    <p:cond delay="50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750"/>
                                        <p:tgtEl>
                                          <p:spTgt spid="28"/>
                                        </p:tgtEl>
                                      </p:cBhvr>
                                    </p:animEffect>
                                  </p:childTnLst>
                                </p:cTn>
                              </p:par>
                              <p:par>
                                <p:cTn id="23" presetID="42" presetClass="path" presetSubtype="0" accel="50000" decel="50000" fill="hold" grpId="1" nodeType="withEffect">
                                  <p:stCondLst>
                                    <p:cond delay="500"/>
                                  </p:stCondLst>
                                  <p:childTnLst>
                                    <p:animMotion origin="layout" path="M 2.91667E-6 -3.7037E-6 L 0.00039 -0.01342 " pathEditMode="relative" rAng="0" ptsTypes="AA">
                                      <p:cBhvr>
                                        <p:cTn id="24" dur="750" spd="-100000" fill="hold"/>
                                        <p:tgtEl>
                                          <p:spTgt spid="28"/>
                                        </p:tgtEl>
                                        <p:attrNameLst>
                                          <p:attrName>ppt_x</p:attrName>
                                          <p:attrName>ppt_y</p:attrName>
                                        </p:attrNameLst>
                                      </p:cBhvr>
                                      <p:rCtr x="1300" y="-67100"/>
                                    </p:animMotion>
                                  </p:childTnLst>
                                </p:cTn>
                              </p:par>
                              <p:par>
                                <p:cTn id="25" presetID="10" presetClass="entr" presetSubtype="0" fill="hold" grpId="0" nodeType="withEffect">
                                  <p:stCondLst>
                                    <p:cond delay="5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750"/>
                                        <p:tgtEl>
                                          <p:spTgt spid="32"/>
                                        </p:tgtEl>
                                      </p:cBhvr>
                                    </p:animEffect>
                                  </p:childTnLst>
                                </p:cTn>
                              </p:par>
                              <p:par>
                                <p:cTn id="28" presetID="42" presetClass="path" presetSubtype="0" accel="50000" decel="50000" fill="hold" grpId="1" nodeType="withEffect">
                                  <p:stCondLst>
                                    <p:cond delay="500"/>
                                  </p:stCondLst>
                                  <p:childTnLst>
                                    <p:animMotion origin="layout" path="M 2.91667E-6 -3.7037E-6 L 0.00039 -0.01342 " pathEditMode="relative" rAng="0" ptsTypes="AA">
                                      <p:cBhvr>
                                        <p:cTn id="29" dur="750" spd="-100000" fill="hold"/>
                                        <p:tgtEl>
                                          <p:spTgt spid="32"/>
                                        </p:tgtEl>
                                        <p:attrNameLst>
                                          <p:attrName>ppt_x</p:attrName>
                                          <p:attrName>ppt_y</p:attrName>
                                        </p:attrNameLst>
                                      </p:cBhvr>
                                      <p:rCtr x="1300" y="-67100"/>
                                    </p:animMotion>
                                  </p:childTnLst>
                                </p:cTn>
                              </p:par>
                              <p:par>
                                <p:cTn id="30" presetID="10" presetClass="entr" presetSubtype="0" fill="hold" grpId="0" nodeType="withEffect">
                                  <p:stCondLst>
                                    <p:cond delay="5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750"/>
                                        <p:tgtEl>
                                          <p:spTgt spid="33"/>
                                        </p:tgtEl>
                                      </p:cBhvr>
                                    </p:animEffect>
                                  </p:childTnLst>
                                </p:cTn>
                              </p:par>
                              <p:par>
                                <p:cTn id="33" presetID="42" presetClass="path" presetSubtype="0" accel="50000" decel="50000" fill="hold" grpId="1" nodeType="withEffect">
                                  <p:stCondLst>
                                    <p:cond delay="500"/>
                                  </p:stCondLst>
                                  <p:childTnLst>
                                    <p:animMotion origin="layout" path="M 2.91667E-6 -3.7037E-6 L 0.00039 -0.01342 " pathEditMode="relative" rAng="0" ptsTypes="AA">
                                      <p:cBhvr>
                                        <p:cTn id="34" dur="750" spd="-100000" fill="hold"/>
                                        <p:tgtEl>
                                          <p:spTgt spid="33"/>
                                        </p:tgtEl>
                                        <p:attrNameLst>
                                          <p:attrName>ppt_x</p:attrName>
                                          <p:attrName>ppt_y</p:attrName>
                                        </p:attrNameLst>
                                      </p:cBhvr>
                                      <p:rCtr x="1300" y="-67100"/>
                                    </p:animMotion>
                                  </p:childTnLst>
                                </p:cTn>
                              </p:par>
                              <p:par>
                                <p:cTn id="35" presetID="10" presetClass="entr" presetSubtype="0" fill="hold" grpId="0" nodeType="withEffect">
                                  <p:stCondLst>
                                    <p:cond delay="50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750"/>
                                        <p:tgtEl>
                                          <p:spTgt spid="34"/>
                                        </p:tgtEl>
                                      </p:cBhvr>
                                    </p:animEffect>
                                  </p:childTnLst>
                                </p:cTn>
                              </p:par>
                              <p:par>
                                <p:cTn id="38" presetID="42" presetClass="path" presetSubtype="0" accel="50000" decel="50000" fill="hold" grpId="1" nodeType="withEffect">
                                  <p:stCondLst>
                                    <p:cond delay="500"/>
                                  </p:stCondLst>
                                  <p:childTnLst>
                                    <p:animMotion origin="layout" path="M 2.91667E-6 -3.7037E-6 L 0.00039 -0.01342 " pathEditMode="relative" rAng="0" ptsTypes="AA">
                                      <p:cBhvr>
                                        <p:cTn id="39" dur="750" spd="-100000" fill="hold"/>
                                        <p:tgtEl>
                                          <p:spTgt spid="34"/>
                                        </p:tgtEl>
                                        <p:attrNameLst>
                                          <p:attrName>ppt_x</p:attrName>
                                          <p:attrName>ppt_y</p:attrName>
                                        </p:attrNameLst>
                                      </p:cBhvr>
                                      <p:rCtr x="1300" y="-67100"/>
                                    </p:animMotion>
                                  </p:childTnLst>
                                </p:cTn>
                              </p:par>
                              <p:par>
                                <p:cTn id="40" presetID="10" presetClass="entr" presetSubtype="0" fill="hold" grpId="0" nodeType="withEffect">
                                  <p:stCondLst>
                                    <p:cond delay="500"/>
                                  </p:stCondLst>
                                  <p:childTnLst>
                                    <p:set>
                                      <p:cBhvr>
                                        <p:cTn id="41" dur="1" fill="hold">
                                          <p:stCondLst>
                                            <p:cond delay="0"/>
                                          </p:stCondLst>
                                        </p:cTn>
                                        <p:tgtEl>
                                          <p:spTgt spid="47"/>
                                        </p:tgtEl>
                                        <p:attrNameLst>
                                          <p:attrName>style.visibility</p:attrName>
                                        </p:attrNameLst>
                                      </p:cBhvr>
                                      <p:to>
                                        <p:strVal val="visible"/>
                                      </p:to>
                                    </p:set>
                                    <p:animEffect transition="in" filter="fade">
                                      <p:cBhvr>
                                        <p:cTn id="42" dur="750"/>
                                        <p:tgtEl>
                                          <p:spTgt spid="47"/>
                                        </p:tgtEl>
                                      </p:cBhvr>
                                    </p:animEffect>
                                  </p:childTnLst>
                                </p:cTn>
                              </p:par>
                              <p:par>
                                <p:cTn id="43" presetID="42" presetClass="path" presetSubtype="0" accel="50000" decel="50000" fill="hold" grpId="1" nodeType="withEffect">
                                  <p:stCondLst>
                                    <p:cond delay="500"/>
                                  </p:stCondLst>
                                  <p:childTnLst>
                                    <p:animMotion origin="layout" path="M 2.91667E-6 -3.7037E-6 L 0.00039 -0.01342 " pathEditMode="relative" rAng="0" ptsTypes="AA">
                                      <p:cBhvr>
                                        <p:cTn id="44" dur="750" spd="-100000" fill="hold"/>
                                        <p:tgtEl>
                                          <p:spTgt spid="47"/>
                                        </p:tgtEl>
                                        <p:attrNameLst>
                                          <p:attrName>ppt_x</p:attrName>
                                          <p:attrName>ppt_y</p:attrName>
                                        </p:attrNameLst>
                                      </p:cBhvr>
                                      <p:rCtr x="1300" y="-67100"/>
                                    </p:animMotion>
                                  </p:childTnLst>
                                </p:cTn>
                              </p:par>
                              <p:par>
                                <p:cTn id="45" presetID="10" presetClass="entr" presetSubtype="0" fill="hold" grpId="0" nodeType="withEffect">
                                  <p:stCondLst>
                                    <p:cond delay="50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750"/>
                                        <p:tgtEl>
                                          <p:spTgt spid="48"/>
                                        </p:tgtEl>
                                      </p:cBhvr>
                                    </p:animEffect>
                                  </p:childTnLst>
                                </p:cTn>
                              </p:par>
                              <p:par>
                                <p:cTn id="48" presetID="42" presetClass="path" presetSubtype="0" accel="50000" decel="50000" fill="hold" grpId="1" nodeType="withEffect">
                                  <p:stCondLst>
                                    <p:cond delay="500"/>
                                  </p:stCondLst>
                                  <p:childTnLst>
                                    <p:animMotion origin="layout" path="M 2.91667E-6 -3.7037E-6 L 0.00039 -0.01342 " pathEditMode="relative" rAng="0" ptsTypes="AA">
                                      <p:cBhvr>
                                        <p:cTn id="49" dur="750" spd="-100000" fill="hold"/>
                                        <p:tgtEl>
                                          <p:spTgt spid="48"/>
                                        </p:tgtEl>
                                        <p:attrNameLst>
                                          <p:attrName>ppt_x</p:attrName>
                                          <p:attrName>ppt_y</p:attrName>
                                        </p:attrNameLst>
                                      </p:cBhvr>
                                      <p:rCtr x="1300" y="-67100"/>
                                    </p:animMotion>
                                  </p:childTnLst>
                                </p:cTn>
                              </p:par>
                              <p:par>
                                <p:cTn id="50" presetID="10" presetClass="entr" presetSubtype="0" fill="hold" grpId="0" nodeType="withEffect">
                                  <p:stCondLst>
                                    <p:cond delay="50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750"/>
                                        <p:tgtEl>
                                          <p:spTgt spid="51"/>
                                        </p:tgtEl>
                                      </p:cBhvr>
                                    </p:animEffect>
                                  </p:childTnLst>
                                </p:cTn>
                              </p:par>
                              <p:par>
                                <p:cTn id="53" presetID="42" presetClass="path" presetSubtype="0" accel="50000" decel="50000" fill="hold" grpId="1" nodeType="withEffect">
                                  <p:stCondLst>
                                    <p:cond delay="500"/>
                                  </p:stCondLst>
                                  <p:childTnLst>
                                    <p:animMotion origin="layout" path="M 2.91667E-6 -3.7037E-6 L 0.00039 -0.01342 " pathEditMode="relative" rAng="0" ptsTypes="AA">
                                      <p:cBhvr>
                                        <p:cTn id="54" dur="750" spd="-100000" fill="hold"/>
                                        <p:tgtEl>
                                          <p:spTgt spid="51"/>
                                        </p:tgtEl>
                                        <p:attrNameLst>
                                          <p:attrName>ppt_x</p:attrName>
                                          <p:attrName>ppt_y</p:attrName>
                                        </p:attrNameLst>
                                      </p:cBhvr>
                                      <p:rCtr x="1300" y="-67100"/>
                                    </p:animMotion>
                                  </p:childTnLst>
                                </p:cTn>
                              </p:par>
                              <p:par>
                                <p:cTn id="55" presetID="10" presetClass="entr" presetSubtype="0" fill="hold" grpId="0" nodeType="withEffect">
                                  <p:stCondLst>
                                    <p:cond delay="500"/>
                                  </p:stCondLst>
                                  <p:childTnLst>
                                    <p:set>
                                      <p:cBhvr>
                                        <p:cTn id="56" dur="1" fill="hold">
                                          <p:stCondLst>
                                            <p:cond delay="0"/>
                                          </p:stCondLst>
                                        </p:cTn>
                                        <p:tgtEl>
                                          <p:spTgt spid="1024"/>
                                        </p:tgtEl>
                                        <p:attrNameLst>
                                          <p:attrName>style.visibility</p:attrName>
                                        </p:attrNameLst>
                                      </p:cBhvr>
                                      <p:to>
                                        <p:strVal val="visible"/>
                                      </p:to>
                                    </p:set>
                                    <p:animEffect transition="in" filter="fade">
                                      <p:cBhvr>
                                        <p:cTn id="57" dur="750"/>
                                        <p:tgtEl>
                                          <p:spTgt spid="1024"/>
                                        </p:tgtEl>
                                      </p:cBhvr>
                                    </p:animEffect>
                                  </p:childTnLst>
                                </p:cTn>
                              </p:par>
                              <p:par>
                                <p:cTn id="58" presetID="42" presetClass="path" presetSubtype="0" accel="50000" decel="50000" fill="hold" grpId="1" nodeType="withEffect">
                                  <p:stCondLst>
                                    <p:cond delay="500"/>
                                  </p:stCondLst>
                                  <p:childTnLst>
                                    <p:animMotion origin="layout" path="M 2.91667E-6 -3.7037E-6 L 0.00039 -0.01342 " pathEditMode="relative" rAng="0" ptsTypes="AA">
                                      <p:cBhvr>
                                        <p:cTn id="59" dur="750" spd="-100000" fill="hold"/>
                                        <p:tgtEl>
                                          <p:spTgt spid="1024"/>
                                        </p:tgtEl>
                                        <p:attrNameLst>
                                          <p:attrName>ppt_x</p:attrName>
                                          <p:attrName>ppt_y</p:attrName>
                                        </p:attrNameLst>
                                      </p:cBhvr>
                                      <p:rCtr x="1300" y="-67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3" grpId="0"/>
      <p:bldP spid="13" grpId="1"/>
      <p:bldP spid="28" grpId="0"/>
      <p:bldP spid="28" grpId="1"/>
      <p:bldP spid="32" grpId="0"/>
      <p:bldP spid="32" grpId="1"/>
      <p:bldP spid="33" grpId="0"/>
      <p:bldP spid="33" grpId="1"/>
      <p:bldP spid="34" grpId="0"/>
      <p:bldP spid="34" grpId="1"/>
      <p:bldP spid="47" grpId="0"/>
      <p:bldP spid="47" grpId="1"/>
      <p:bldP spid="48" grpId="0"/>
      <p:bldP spid="48" grpId="1"/>
      <p:bldP spid="51" grpId="0"/>
      <p:bldP spid="51" grpId="1"/>
      <p:bldP spid="1024" grpId="0"/>
      <p:bldP spid="1024" grpId="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07642AC2-64E6-540F-BFD2-D6C82EA75AE4}"/>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60EE986E-1F0D-40CC-F9C6-B96162D7F031}"/>
              </a:ext>
            </a:extLst>
          </p:cNvPr>
          <p:cNvSpPr/>
          <p:nvPr/>
        </p:nvSpPr>
        <p:spPr bwMode="auto">
          <a:xfrm>
            <a:off x="2921620" y="1349243"/>
            <a:ext cx="7017834" cy="4456215"/>
          </a:xfrm>
          <a:prstGeom prst="rect">
            <a:avLst/>
          </a:prstGeom>
          <a:noFill/>
          <a:ln>
            <a:solidFill>
              <a:srgbClr val="0078D4"/>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Rectangle 10">
            <a:extLst>
              <a:ext uri="{FF2B5EF4-FFF2-40B4-BE49-F238E27FC236}">
                <a16:creationId xmlns:a16="http://schemas.microsoft.com/office/drawing/2014/main" id="{BDB19396-6D32-BD5F-D0E3-30C833DC531D}"/>
              </a:ext>
            </a:extLst>
          </p:cNvPr>
          <p:cNvSpPr>
            <a:spLocks/>
          </p:cNvSpPr>
          <p:nvPr/>
        </p:nvSpPr>
        <p:spPr bwMode="invGray">
          <a:xfrm>
            <a:off x="2493765" y="6016365"/>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0">
                <a:solidFill>
                  <a:srgbClr val="FFFFFF"/>
                </a:solidFill>
                <a:latin typeface="Segoe Sans Display Semibold"/>
              </a:rPr>
              <a:t>Azure AI Foundry</a:t>
            </a:r>
            <a:endParaRPr kumimoji="0" lang="en-US" sz="900" b="0" i="0" u="none" strike="noStrike" kern="0" cap="none" spc="0" normalizeH="0" baseline="0" noProof="0">
              <a:ln>
                <a:noFill/>
              </a:ln>
              <a:solidFill>
                <a:srgbClr val="FFFFFF"/>
              </a:solidFill>
              <a:effectLst/>
              <a:uLnTx/>
              <a:uFillTx/>
              <a:latin typeface="Segoe Sans Display Semibold"/>
              <a:ea typeface="+mn-ea"/>
              <a:cs typeface="+mn-cs"/>
            </a:endParaRPr>
          </a:p>
        </p:txBody>
      </p:sp>
      <p:sp>
        <p:nvSpPr>
          <p:cNvPr id="13" name="Rectangle 12">
            <a:extLst>
              <a:ext uri="{FF2B5EF4-FFF2-40B4-BE49-F238E27FC236}">
                <a16:creationId xmlns:a16="http://schemas.microsoft.com/office/drawing/2014/main" id="{21ACF3CB-A2FA-0904-00D0-00D76E37D3A5}"/>
              </a:ext>
            </a:extLst>
          </p:cNvPr>
          <p:cNvSpPr>
            <a:spLocks/>
          </p:cNvSpPr>
          <p:nvPr/>
        </p:nvSpPr>
        <p:spPr bwMode="invGray">
          <a:xfrm>
            <a:off x="6771200" y="3657600"/>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GPT-4o Model</a:t>
            </a:r>
          </a:p>
        </p:txBody>
      </p:sp>
      <p:pic>
        <p:nvPicPr>
          <p:cNvPr id="17" name="Graphic 16" descr="User with solid fill">
            <a:extLst>
              <a:ext uri="{FF2B5EF4-FFF2-40B4-BE49-F238E27FC236}">
                <a16:creationId xmlns:a16="http://schemas.microsoft.com/office/drawing/2014/main" id="{549C6ED7-54DA-023B-A627-7637064287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3305" y="3086100"/>
            <a:ext cx="685800" cy="685800"/>
          </a:xfrm>
          <a:prstGeom prst="rect">
            <a:avLst/>
          </a:prstGeom>
        </p:spPr>
      </p:pic>
      <p:cxnSp>
        <p:nvCxnSpPr>
          <p:cNvPr id="19" name="Straight Arrow Connector 18">
            <a:extLst>
              <a:ext uri="{FF2B5EF4-FFF2-40B4-BE49-F238E27FC236}">
                <a16:creationId xmlns:a16="http://schemas.microsoft.com/office/drawing/2014/main" id="{EC840EDD-D315-1965-43B7-AD33A77C55B6}"/>
              </a:ext>
            </a:extLst>
          </p:cNvPr>
          <p:cNvCxnSpPr>
            <a:cxnSpLocks/>
            <a:endCxn id="1030" idx="1"/>
          </p:cNvCxnSpPr>
          <p:nvPr/>
        </p:nvCxnSpPr>
        <p:spPr>
          <a:xfrm>
            <a:off x="2429105" y="3429000"/>
            <a:ext cx="2947173"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Graphic 26" descr="Folder Search with solid fill">
            <a:extLst>
              <a:ext uri="{FF2B5EF4-FFF2-40B4-BE49-F238E27FC236}">
                <a16:creationId xmlns:a16="http://schemas.microsoft.com/office/drawing/2014/main" id="{7F7F4101-B3B0-52EE-66D8-5BE698714D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12824" y="1537010"/>
            <a:ext cx="685800" cy="685800"/>
          </a:xfrm>
          <a:prstGeom prst="rect">
            <a:avLst/>
          </a:prstGeom>
        </p:spPr>
      </p:pic>
      <p:sp>
        <p:nvSpPr>
          <p:cNvPr id="28" name="Rectangle 27">
            <a:extLst>
              <a:ext uri="{FF2B5EF4-FFF2-40B4-BE49-F238E27FC236}">
                <a16:creationId xmlns:a16="http://schemas.microsoft.com/office/drawing/2014/main" id="{381FAE4B-E7A5-C13C-0DA8-64FADA5F4097}"/>
              </a:ext>
            </a:extLst>
          </p:cNvPr>
          <p:cNvSpPr>
            <a:spLocks/>
          </p:cNvSpPr>
          <p:nvPr/>
        </p:nvSpPr>
        <p:spPr bwMode="invGray">
          <a:xfrm>
            <a:off x="6771200" y="2222810"/>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Knowledge Base</a:t>
            </a:r>
          </a:p>
        </p:txBody>
      </p:sp>
      <p:cxnSp>
        <p:nvCxnSpPr>
          <p:cNvPr id="29" name="Straight Arrow Connector 28">
            <a:extLst>
              <a:ext uri="{FF2B5EF4-FFF2-40B4-BE49-F238E27FC236}">
                <a16:creationId xmlns:a16="http://schemas.microsoft.com/office/drawing/2014/main" id="{B30C0514-7CD2-DB88-A6B4-281CA7743639}"/>
              </a:ext>
            </a:extLst>
          </p:cNvPr>
          <p:cNvCxnSpPr>
            <a:cxnSpLocks/>
            <a:endCxn id="28" idx="2"/>
          </p:cNvCxnSpPr>
          <p:nvPr/>
        </p:nvCxnSpPr>
        <p:spPr>
          <a:xfrm flipV="1">
            <a:off x="7255724" y="2361309"/>
            <a:ext cx="0" cy="839091"/>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EB70BE9-EB32-D113-D6E9-56EF49FE295D}"/>
              </a:ext>
            </a:extLst>
          </p:cNvPr>
          <p:cNvSpPr>
            <a:spLocks/>
          </p:cNvSpPr>
          <p:nvPr/>
        </p:nvSpPr>
        <p:spPr bwMode="invGray">
          <a:xfrm>
            <a:off x="1601681" y="3727563"/>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User</a:t>
            </a:r>
          </a:p>
        </p:txBody>
      </p:sp>
      <p:pic>
        <p:nvPicPr>
          <p:cNvPr id="1028" name="Picture 4" descr="Bing logo in transparent PNG and vectorized SVG formats">
            <a:extLst>
              <a:ext uri="{FF2B5EF4-FFF2-40B4-BE49-F238E27FC236}">
                <a16:creationId xmlns:a16="http://schemas.microsoft.com/office/drawing/2014/main" id="{4107D523-8C7C-CD5B-4BEF-05BE211583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6680" y="4761253"/>
            <a:ext cx="363220" cy="548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ACAFC67-BBCF-2027-6C27-57B31830090E}"/>
              </a:ext>
            </a:extLst>
          </p:cNvPr>
          <p:cNvSpPr>
            <a:spLocks/>
          </p:cNvSpPr>
          <p:nvPr/>
        </p:nvSpPr>
        <p:spPr bwMode="invGray">
          <a:xfrm>
            <a:off x="6749824" y="5370258"/>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Bing Web</a:t>
            </a:r>
          </a:p>
        </p:txBody>
      </p:sp>
      <p:cxnSp>
        <p:nvCxnSpPr>
          <p:cNvPr id="35" name="Straight Arrow Connector 34">
            <a:extLst>
              <a:ext uri="{FF2B5EF4-FFF2-40B4-BE49-F238E27FC236}">
                <a16:creationId xmlns:a16="http://schemas.microsoft.com/office/drawing/2014/main" id="{2FF3DE1D-496A-E2D2-B53A-188A00083B74}"/>
              </a:ext>
            </a:extLst>
          </p:cNvPr>
          <p:cNvCxnSpPr>
            <a:cxnSpLocks/>
            <a:stCxn id="1028" idx="0"/>
            <a:endCxn id="13" idx="2"/>
          </p:cNvCxnSpPr>
          <p:nvPr/>
        </p:nvCxnSpPr>
        <p:spPr>
          <a:xfrm flipV="1">
            <a:off x="7248290" y="3796099"/>
            <a:ext cx="7434" cy="965154"/>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030" name="Picture 6" descr="Azure Content Moderator | New Relic">
            <a:extLst>
              <a:ext uri="{FF2B5EF4-FFF2-40B4-BE49-F238E27FC236}">
                <a16:creationId xmlns:a16="http://schemas.microsoft.com/office/drawing/2014/main" id="{E4067567-7A8C-C09A-F24A-BD59E92AA03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6278" y="3200400"/>
            <a:ext cx="457200" cy="457200"/>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A3E3231B-61BF-2E25-0985-11649CC54934}"/>
              </a:ext>
            </a:extLst>
          </p:cNvPr>
          <p:cNvCxnSpPr>
            <a:cxnSpLocks/>
            <a:stCxn id="1030" idx="3"/>
          </p:cNvCxnSpPr>
          <p:nvPr/>
        </p:nvCxnSpPr>
        <p:spPr>
          <a:xfrm>
            <a:off x="5833478" y="3429000"/>
            <a:ext cx="1193646"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3E04750-E3FD-21BD-B4CE-7A0030035035}"/>
              </a:ext>
            </a:extLst>
          </p:cNvPr>
          <p:cNvCxnSpPr>
            <a:cxnSpLocks/>
            <a:endCxn id="44" idx="1"/>
          </p:cNvCxnSpPr>
          <p:nvPr/>
        </p:nvCxnSpPr>
        <p:spPr>
          <a:xfrm>
            <a:off x="7484324" y="3429000"/>
            <a:ext cx="1194482"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4" name="Picture 6" descr="Azure Content Moderator | New Relic">
            <a:extLst>
              <a:ext uri="{FF2B5EF4-FFF2-40B4-BE49-F238E27FC236}">
                <a16:creationId xmlns:a16="http://schemas.microsoft.com/office/drawing/2014/main" id="{85BC370E-6647-C2F8-C7C1-98C53C3566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78806" y="320040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E4ADBC45-2701-AD22-A0F8-C54A1AE46973}"/>
              </a:ext>
            </a:extLst>
          </p:cNvPr>
          <p:cNvSpPr>
            <a:spLocks/>
          </p:cNvSpPr>
          <p:nvPr/>
        </p:nvSpPr>
        <p:spPr bwMode="invGray">
          <a:xfrm>
            <a:off x="5120354" y="3726849"/>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Con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Safety</a:t>
            </a:r>
          </a:p>
        </p:txBody>
      </p:sp>
      <p:sp>
        <p:nvSpPr>
          <p:cNvPr id="48" name="Rectangle 47">
            <a:extLst>
              <a:ext uri="{FF2B5EF4-FFF2-40B4-BE49-F238E27FC236}">
                <a16:creationId xmlns:a16="http://schemas.microsoft.com/office/drawing/2014/main" id="{DAA2E7D8-AC20-A83B-B58E-46A8B2CA6EBE}"/>
              </a:ext>
            </a:extLst>
          </p:cNvPr>
          <p:cNvSpPr>
            <a:spLocks/>
          </p:cNvSpPr>
          <p:nvPr/>
        </p:nvSpPr>
        <p:spPr bwMode="invGray">
          <a:xfrm>
            <a:off x="8422882" y="3726848"/>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Con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Safety</a:t>
            </a:r>
          </a:p>
        </p:txBody>
      </p:sp>
      <p:sp>
        <p:nvSpPr>
          <p:cNvPr id="51" name="Rectangle 50">
            <a:extLst>
              <a:ext uri="{FF2B5EF4-FFF2-40B4-BE49-F238E27FC236}">
                <a16:creationId xmlns:a16="http://schemas.microsoft.com/office/drawing/2014/main" id="{AF596668-AB90-E4E1-F5A0-2E9407B88F79}"/>
              </a:ext>
            </a:extLst>
          </p:cNvPr>
          <p:cNvSpPr>
            <a:spLocks/>
          </p:cNvSpPr>
          <p:nvPr/>
        </p:nvSpPr>
        <p:spPr bwMode="invGray">
          <a:xfrm>
            <a:off x="10282439" y="3687336"/>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User</a:t>
            </a:r>
          </a:p>
        </p:txBody>
      </p:sp>
      <p:cxnSp>
        <p:nvCxnSpPr>
          <p:cNvPr id="52" name="Straight Arrow Connector 51">
            <a:extLst>
              <a:ext uri="{FF2B5EF4-FFF2-40B4-BE49-F238E27FC236}">
                <a16:creationId xmlns:a16="http://schemas.microsoft.com/office/drawing/2014/main" id="{3B79D642-A783-C33F-3873-2ED68496E934}"/>
              </a:ext>
            </a:extLst>
          </p:cNvPr>
          <p:cNvCxnSpPr>
            <a:cxnSpLocks/>
            <a:stCxn id="44" idx="3"/>
          </p:cNvCxnSpPr>
          <p:nvPr/>
        </p:nvCxnSpPr>
        <p:spPr>
          <a:xfrm>
            <a:off x="9136006" y="3429000"/>
            <a:ext cx="1107776" cy="7544"/>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4D772F39-9C61-5898-0E7A-1CA903531337}"/>
              </a:ext>
            </a:extLst>
          </p:cNvPr>
          <p:cNvSpPr>
            <a:spLocks noGrp="1"/>
          </p:cNvSpPr>
          <p:nvPr>
            <p:ph type="title"/>
          </p:nvPr>
        </p:nvSpPr>
        <p:spPr>
          <a:xfrm>
            <a:off x="838200" y="396558"/>
            <a:ext cx="10515600" cy="553998"/>
          </a:xfrm>
        </p:spPr>
        <p:txBody>
          <a:bodyPr/>
          <a:lstStyle/>
          <a:p>
            <a:pPr algn="ctr"/>
            <a:r>
              <a:rPr lang="en-US">
                <a:solidFill>
                  <a:schemeClr val="bg1"/>
                </a:solidFill>
                <a:latin typeface="Segoe UI Semibold" panose="020B0702040204020203" pitchFamily="34" charset="0"/>
                <a:cs typeface="Segoe UI Semibold" panose="020B0702040204020203" pitchFamily="34" charset="0"/>
              </a:rPr>
              <a:t>Azure AI Foundry Architecture</a:t>
            </a:r>
          </a:p>
        </p:txBody>
      </p:sp>
      <p:pic>
        <p:nvPicPr>
          <p:cNvPr id="3" name="Picture 15">
            <a:extLst>
              <a:ext uri="{FF2B5EF4-FFF2-40B4-BE49-F238E27FC236}">
                <a16:creationId xmlns:a16="http://schemas.microsoft.com/office/drawing/2014/main" id="{A46D95FA-F7C5-6916-DC95-A157FCCEAFF9}"/>
              </a:ext>
              <a:ext uri="{C183D7F6-B498-43B3-948B-1728B52AA6E4}">
                <adec:decorative xmlns:adec="http://schemas.microsoft.com/office/drawing/2017/decorative" val="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22" b="-1322"/>
          <a:stretch/>
        </p:blipFill>
        <p:spPr bwMode="auto">
          <a:xfrm>
            <a:off x="7062716" y="3240225"/>
            <a:ext cx="400878" cy="411480"/>
          </a:xfrm>
          <a:prstGeom prst="rect">
            <a:avLst/>
          </a:prstGeom>
          <a:ln>
            <a:noFill/>
          </a:ln>
          <a:extLst>
            <a:ext uri="{53640926-AAD7-44D8-BBD7-CCE9431645EC}">
              <a14:shadowObscured xmlns:a14="http://schemas.microsoft.com/office/drawing/2010/main"/>
            </a:ext>
          </a:extLst>
        </p:spPr>
      </p:pic>
      <p:pic>
        <p:nvPicPr>
          <p:cNvPr id="4" name="Graphic 3" descr="User with solid fill">
            <a:extLst>
              <a:ext uri="{FF2B5EF4-FFF2-40B4-BE49-F238E27FC236}">
                <a16:creationId xmlns:a16="http://schemas.microsoft.com/office/drawing/2014/main" id="{893529EA-AC64-1BDE-7CD7-954EE02F9D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20812" y="3070785"/>
            <a:ext cx="685800" cy="685800"/>
          </a:xfrm>
          <a:prstGeom prst="rect">
            <a:avLst/>
          </a:prstGeom>
        </p:spPr>
      </p:pic>
      <p:pic>
        <p:nvPicPr>
          <p:cNvPr id="5" name="Graphic 4">
            <a:extLst>
              <a:ext uri="{FF2B5EF4-FFF2-40B4-BE49-F238E27FC236}">
                <a16:creationId xmlns:a16="http://schemas.microsoft.com/office/drawing/2014/main" id="{957B7FE2-AA3C-4FCC-D199-6AC3141D4E3F}"/>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584" t="6583" r="6584" b="6583"/>
          <a:stretch/>
        </p:blipFill>
        <p:spPr>
          <a:xfrm>
            <a:off x="2703552" y="5444589"/>
            <a:ext cx="549474" cy="549474"/>
          </a:xfrm>
          <a:prstGeom prst="rect">
            <a:avLst/>
          </a:prstGeom>
        </p:spPr>
      </p:pic>
    </p:spTree>
    <p:extLst>
      <p:ext uri="{BB962C8B-B14F-4D97-AF65-F5344CB8AC3E}">
        <p14:creationId xmlns:p14="http://schemas.microsoft.com/office/powerpoint/2010/main" val="396768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42" presetClass="path" presetSubtype="0" accel="50000" decel="50000" fill="hold" grpId="1" nodeType="withEffect">
                                  <p:stCondLst>
                                    <p:cond delay="500"/>
                                  </p:stCondLst>
                                  <p:childTnLst>
                                    <p:animMotion origin="layout" path="M 2.91667E-6 -3.7037E-6 L 0.00039 -0.01342 " pathEditMode="relative" rAng="0" ptsTypes="AA">
                                      <p:cBhvr>
                                        <p:cTn id="9" dur="750" spd="-100000" fill="hold"/>
                                        <p:tgtEl>
                                          <p:spTgt spid="11"/>
                                        </p:tgtEl>
                                        <p:attrNameLst>
                                          <p:attrName>ppt_x</p:attrName>
                                          <p:attrName>ppt_y</p:attrName>
                                        </p:attrNameLst>
                                      </p:cBhvr>
                                      <p:rCtr x="13" y="-671"/>
                                    </p:animMotion>
                                  </p:childTnLst>
                                </p:cTn>
                              </p:par>
                              <p:par>
                                <p:cTn id="10" presetID="10" presetClass="entr" presetSubtype="0" fill="hold" grpId="0"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42" presetClass="path" presetSubtype="0" accel="50000" decel="50000" fill="hold" grpId="1" nodeType="withEffect">
                                  <p:stCondLst>
                                    <p:cond delay="500"/>
                                  </p:stCondLst>
                                  <p:childTnLst>
                                    <p:animMotion origin="layout" path="M 2.91667E-6 -3.7037E-6 L 0.00039 -0.01342 " pathEditMode="relative" rAng="0" ptsTypes="AA">
                                      <p:cBhvr>
                                        <p:cTn id="14" dur="750" spd="-100000" fill="hold"/>
                                        <p:tgtEl>
                                          <p:spTgt spid="13"/>
                                        </p:tgtEl>
                                        <p:attrNameLst>
                                          <p:attrName>ppt_x</p:attrName>
                                          <p:attrName>ppt_y</p:attrName>
                                        </p:attrNameLst>
                                      </p:cBhvr>
                                      <p:rCtr x="13" y="-671"/>
                                    </p:animMotion>
                                  </p:childTnLst>
                                </p:cTn>
                              </p:par>
                              <p:par>
                                <p:cTn id="15" presetID="10" presetClass="entr" presetSubtype="0" fill="hold" grpId="0" nodeType="withEffect">
                                  <p:stCondLst>
                                    <p:cond delay="5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750"/>
                                        <p:tgtEl>
                                          <p:spTgt spid="28"/>
                                        </p:tgtEl>
                                      </p:cBhvr>
                                    </p:animEffect>
                                  </p:childTnLst>
                                </p:cTn>
                              </p:par>
                              <p:par>
                                <p:cTn id="18" presetID="42" presetClass="path" presetSubtype="0" accel="50000" decel="50000" fill="hold" grpId="1" nodeType="withEffect">
                                  <p:stCondLst>
                                    <p:cond delay="500"/>
                                  </p:stCondLst>
                                  <p:childTnLst>
                                    <p:animMotion origin="layout" path="M 2.91667E-6 -3.7037E-6 L 0.00039 -0.01342 " pathEditMode="relative" rAng="0" ptsTypes="AA">
                                      <p:cBhvr>
                                        <p:cTn id="19" dur="750" spd="-100000" fill="hold"/>
                                        <p:tgtEl>
                                          <p:spTgt spid="28"/>
                                        </p:tgtEl>
                                        <p:attrNameLst>
                                          <p:attrName>ppt_x</p:attrName>
                                          <p:attrName>ppt_y</p:attrName>
                                        </p:attrNameLst>
                                      </p:cBhvr>
                                      <p:rCtr x="13" y="-671"/>
                                    </p:animMotion>
                                  </p:childTnLst>
                                </p:cTn>
                              </p:par>
                              <p:par>
                                <p:cTn id="20" presetID="10" presetClass="entr" presetSubtype="0" fill="hold" grpId="0" nodeType="withEffect">
                                  <p:stCondLst>
                                    <p:cond delay="5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750"/>
                                        <p:tgtEl>
                                          <p:spTgt spid="32"/>
                                        </p:tgtEl>
                                      </p:cBhvr>
                                    </p:animEffect>
                                  </p:childTnLst>
                                </p:cTn>
                              </p:par>
                              <p:par>
                                <p:cTn id="23" presetID="42" presetClass="path" presetSubtype="0" accel="50000" decel="50000" fill="hold" grpId="1" nodeType="withEffect">
                                  <p:stCondLst>
                                    <p:cond delay="500"/>
                                  </p:stCondLst>
                                  <p:childTnLst>
                                    <p:animMotion origin="layout" path="M 2.91667E-6 -3.7037E-6 L 0.00039 -0.01342 " pathEditMode="relative" rAng="0" ptsTypes="AA">
                                      <p:cBhvr>
                                        <p:cTn id="24" dur="750" spd="-100000" fill="hold"/>
                                        <p:tgtEl>
                                          <p:spTgt spid="32"/>
                                        </p:tgtEl>
                                        <p:attrNameLst>
                                          <p:attrName>ppt_x</p:attrName>
                                          <p:attrName>ppt_y</p:attrName>
                                        </p:attrNameLst>
                                      </p:cBhvr>
                                      <p:rCtr x="13" y="-671"/>
                                    </p:animMotion>
                                  </p:childTnLst>
                                </p:cTn>
                              </p:par>
                              <p:par>
                                <p:cTn id="25" presetID="10" presetClass="entr" presetSubtype="0" fill="hold" grpId="0" nodeType="withEffect">
                                  <p:stCondLst>
                                    <p:cond delay="5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accel="50000" decel="50000" fill="hold" grpId="1" nodeType="withEffect">
                                  <p:stCondLst>
                                    <p:cond delay="500"/>
                                  </p:stCondLst>
                                  <p:childTnLst>
                                    <p:animMotion origin="layout" path="M 2.91667E-6 -3.7037E-6 L 0.00039 -0.01342 " pathEditMode="relative" rAng="0" ptsTypes="AA">
                                      <p:cBhvr>
                                        <p:cTn id="29" dur="750" spd="-100000" fill="hold"/>
                                        <p:tgtEl>
                                          <p:spTgt spid="34"/>
                                        </p:tgtEl>
                                        <p:attrNameLst>
                                          <p:attrName>ppt_x</p:attrName>
                                          <p:attrName>ppt_y</p:attrName>
                                        </p:attrNameLst>
                                      </p:cBhvr>
                                      <p:rCtr x="13" y="-671"/>
                                    </p:animMotion>
                                  </p:childTnLst>
                                </p:cTn>
                              </p:par>
                              <p:par>
                                <p:cTn id="30" presetID="10" presetClass="entr" presetSubtype="0" fill="hold" grpId="0" nodeType="withEffect">
                                  <p:stCondLst>
                                    <p:cond delay="50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50"/>
                                        <p:tgtEl>
                                          <p:spTgt spid="47"/>
                                        </p:tgtEl>
                                      </p:cBhvr>
                                    </p:animEffect>
                                  </p:childTnLst>
                                </p:cTn>
                              </p:par>
                              <p:par>
                                <p:cTn id="33" presetID="42" presetClass="path" presetSubtype="0" accel="50000" decel="50000" fill="hold" grpId="1" nodeType="withEffect">
                                  <p:stCondLst>
                                    <p:cond delay="500"/>
                                  </p:stCondLst>
                                  <p:childTnLst>
                                    <p:animMotion origin="layout" path="M 2.91667E-6 -3.7037E-6 L 0.00039 -0.01342 " pathEditMode="relative" rAng="0" ptsTypes="AA">
                                      <p:cBhvr>
                                        <p:cTn id="34" dur="750" spd="-100000" fill="hold"/>
                                        <p:tgtEl>
                                          <p:spTgt spid="47"/>
                                        </p:tgtEl>
                                        <p:attrNameLst>
                                          <p:attrName>ppt_x</p:attrName>
                                          <p:attrName>ppt_y</p:attrName>
                                        </p:attrNameLst>
                                      </p:cBhvr>
                                      <p:rCtr x="13" y="-671"/>
                                    </p:animMotion>
                                  </p:childTnLst>
                                </p:cTn>
                              </p:par>
                              <p:par>
                                <p:cTn id="35" presetID="10" presetClass="entr" presetSubtype="0" fill="hold" grpId="0" nodeType="withEffect">
                                  <p:stCondLst>
                                    <p:cond delay="50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750"/>
                                        <p:tgtEl>
                                          <p:spTgt spid="48"/>
                                        </p:tgtEl>
                                      </p:cBhvr>
                                    </p:animEffect>
                                  </p:childTnLst>
                                </p:cTn>
                              </p:par>
                              <p:par>
                                <p:cTn id="38" presetID="42" presetClass="path" presetSubtype="0" accel="50000" decel="50000" fill="hold" grpId="1" nodeType="withEffect">
                                  <p:stCondLst>
                                    <p:cond delay="500"/>
                                  </p:stCondLst>
                                  <p:childTnLst>
                                    <p:animMotion origin="layout" path="M 2.91667E-6 -3.7037E-6 L 0.00039 -0.01342 " pathEditMode="relative" rAng="0" ptsTypes="AA">
                                      <p:cBhvr>
                                        <p:cTn id="39" dur="750" spd="-100000" fill="hold"/>
                                        <p:tgtEl>
                                          <p:spTgt spid="48"/>
                                        </p:tgtEl>
                                        <p:attrNameLst>
                                          <p:attrName>ppt_x</p:attrName>
                                          <p:attrName>ppt_y</p:attrName>
                                        </p:attrNameLst>
                                      </p:cBhvr>
                                      <p:rCtr x="13" y="-671"/>
                                    </p:animMotion>
                                  </p:childTnLst>
                                </p:cTn>
                              </p:par>
                              <p:par>
                                <p:cTn id="40" presetID="10" presetClass="entr" presetSubtype="0" fill="hold" grpId="0" nodeType="withEffect">
                                  <p:stCondLst>
                                    <p:cond delay="50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750"/>
                                        <p:tgtEl>
                                          <p:spTgt spid="51"/>
                                        </p:tgtEl>
                                      </p:cBhvr>
                                    </p:animEffect>
                                  </p:childTnLst>
                                </p:cTn>
                              </p:par>
                              <p:par>
                                <p:cTn id="43" presetID="42" presetClass="path" presetSubtype="0" accel="50000" decel="50000" fill="hold" grpId="1" nodeType="withEffect">
                                  <p:stCondLst>
                                    <p:cond delay="500"/>
                                  </p:stCondLst>
                                  <p:childTnLst>
                                    <p:animMotion origin="layout" path="M 2.91667E-6 -3.7037E-6 L 0.00039 -0.01342 " pathEditMode="relative" rAng="0" ptsTypes="AA">
                                      <p:cBhvr>
                                        <p:cTn id="44" dur="750" spd="-100000" fill="hold"/>
                                        <p:tgtEl>
                                          <p:spTgt spid="51"/>
                                        </p:tgtEl>
                                        <p:attrNameLst>
                                          <p:attrName>ppt_x</p:attrName>
                                          <p:attrName>ppt_y</p:attrName>
                                        </p:attrNameLst>
                                      </p:cBhvr>
                                      <p:rCtr x="13" y="-671"/>
                                    </p:animMotion>
                                  </p:childTnLst>
                                </p:cTn>
                              </p:par>
                              <p:par>
                                <p:cTn id="45" presetID="10" presetClass="entr" presetSubtype="0" fill="hold" nodeType="withEffect">
                                  <p:stCondLst>
                                    <p:cond delay="50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750"/>
                                        <p:tgtEl>
                                          <p:spTgt spid="3"/>
                                        </p:tgtEl>
                                      </p:cBhvr>
                                    </p:animEffect>
                                  </p:childTnLst>
                                </p:cTn>
                              </p:par>
                              <p:par>
                                <p:cTn id="48" presetID="42" presetClass="path" presetSubtype="0" accel="50000" decel="50000" fill="hold" nodeType="withEffect">
                                  <p:stCondLst>
                                    <p:cond delay="500"/>
                                  </p:stCondLst>
                                  <p:childTnLst>
                                    <p:animMotion origin="layout" path="M 3.33333E-6 -2.96296E-6 L 0.00039 -0.01342 " pathEditMode="relative" rAng="0" ptsTypes="AA">
                                      <p:cBhvr>
                                        <p:cTn id="49" dur="750" spd="-100000" fill="hold"/>
                                        <p:tgtEl>
                                          <p:spTgt spid="3"/>
                                        </p:tgtEl>
                                        <p:attrNameLst>
                                          <p:attrName>ppt_x</p:attrName>
                                          <p:attrName>ppt_y</p:attrName>
                                        </p:attrNameLst>
                                      </p:cBhvr>
                                      <p:rCtr x="13" y="-671"/>
                                    </p:animMotion>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par>
                                <p:cTn id="53" presetID="42" presetClass="path" presetSubtype="0" decel="100000" fill="hold" nodeType="withEffect">
                                  <p:stCondLst>
                                    <p:cond delay="0"/>
                                  </p:stCondLst>
                                  <p:childTnLst>
                                    <p:animMotion origin="layout" path="M -2.08333E-7 7.40741E-7 L -2.08333E-7 0.03542 " pathEditMode="relative" rAng="0" ptsTypes="AA">
                                      <p:cBhvr>
                                        <p:cTn id="54"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3" grpId="0"/>
      <p:bldP spid="13" grpId="1"/>
      <p:bldP spid="28" grpId="0"/>
      <p:bldP spid="28" grpId="1"/>
      <p:bldP spid="32" grpId="0"/>
      <p:bldP spid="32" grpId="1"/>
      <p:bldP spid="34" grpId="0"/>
      <p:bldP spid="34" grpId="1"/>
      <p:bldP spid="47" grpId="0"/>
      <p:bldP spid="47" grpId="1"/>
      <p:bldP spid="48" grpId="0"/>
      <p:bldP spid="48" grpId="1"/>
      <p:bldP spid="51" grpId="0"/>
      <p:bldP spid="51" grpId="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F69B10CD-9D4D-A4E1-374A-B8BA0A3B1035}"/>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12577F9A-3493-0F7E-4C63-FAC646488979}"/>
              </a:ext>
            </a:extLst>
          </p:cNvPr>
          <p:cNvSpPr/>
          <p:nvPr/>
        </p:nvSpPr>
        <p:spPr bwMode="auto">
          <a:xfrm>
            <a:off x="2921620" y="1349243"/>
            <a:ext cx="7017834" cy="4456215"/>
          </a:xfrm>
          <a:prstGeom prst="rect">
            <a:avLst/>
          </a:prstGeom>
          <a:noFill/>
          <a:ln>
            <a:solidFill>
              <a:srgbClr val="0078D4"/>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Rectangle 10">
            <a:extLst>
              <a:ext uri="{FF2B5EF4-FFF2-40B4-BE49-F238E27FC236}">
                <a16:creationId xmlns:a16="http://schemas.microsoft.com/office/drawing/2014/main" id="{A1FA8D70-D31C-4097-A4FF-FF7C69E8E952}"/>
              </a:ext>
            </a:extLst>
          </p:cNvPr>
          <p:cNvSpPr>
            <a:spLocks/>
          </p:cNvSpPr>
          <p:nvPr/>
        </p:nvSpPr>
        <p:spPr bwMode="invGray">
          <a:xfrm>
            <a:off x="2493765" y="6016365"/>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Azure AI Foundry</a:t>
            </a:r>
          </a:p>
        </p:txBody>
      </p:sp>
      <p:sp>
        <p:nvSpPr>
          <p:cNvPr id="13" name="Rectangle 12">
            <a:extLst>
              <a:ext uri="{FF2B5EF4-FFF2-40B4-BE49-F238E27FC236}">
                <a16:creationId xmlns:a16="http://schemas.microsoft.com/office/drawing/2014/main" id="{63FFB841-25AF-5DC6-7F6C-7660FE37F819}"/>
              </a:ext>
            </a:extLst>
          </p:cNvPr>
          <p:cNvSpPr>
            <a:spLocks/>
          </p:cNvSpPr>
          <p:nvPr/>
        </p:nvSpPr>
        <p:spPr bwMode="invGray">
          <a:xfrm>
            <a:off x="6771200" y="3657600"/>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GPT-4o Model</a:t>
            </a:r>
          </a:p>
        </p:txBody>
      </p:sp>
      <p:pic>
        <p:nvPicPr>
          <p:cNvPr id="17" name="Graphic 16" descr="User with solid fill">
            <a:extLst>
              <a:ext uri="{FF2B5EF4-FFF2-40B4-BE49-F238E27FC236}">
                <a16:creationId xmlns:a16="http://schemas.microsoft.com/office/drawing/2014/main" id="{1BAF0149-9D94-321D-0891-09589A3A80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503" y="3093534"/>
            <a:ext cx="685800" cy="685800"/>
          </a:xfrm>
          <a:prstGeom prst="rect">
            <a:avLst/>
          </a:prstGeom>
        </p:spPr>
      </p:pic>
      <p:cxnSp>
        <p:nvCxnSpPr>
          <p:cNvPr id="19" name="Straight Arrow Connector 18">
            <a:extLst>
              <a:ext uri="{FF2B5EF4-FFF2-40B4-BE49-F238E27FC236}">
                <a16:creationId xmlns:a16="http://schemas.microsoft.com/office/drawing/2014/main" id="{BE4731A5-D1AB-5521-645C-6FA4311FDBA0}"/>
              </a:ext>
            </a:extLst>
          </p:cNvPr>
          <p:cNvCxnSpPr>
            <a:cxnSpLocks/>
            <a:stCxn id="2050" idx="3"/>
            <a:endCxn id="1030" idx="1"/>
          </p:cNvCxnSpPr>
          <p:nvPr/>
        </p:nvCxnSpPr>
        <p:spPr>
          <a:xfrm flipV="1">
            <a:off x="2375395" y="3429000"/>
            <a:ext cx="3000883" cy="2097"/>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Graphic 26" descr="Folder Search with solid fill">
            <a:extLst>
              <a:ext uri="{FF2B5EF4-FFF2-40B4-BE49-F238E27FC236}">
                <a16:creationId xmlns:a16="http://schemas.microsoft.com/office/drawing/2014/main" id="{EB2EA033-4E50-BB1D-5BD4-F5B6E54E8A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12824" y="1537010"/>
            <a:ext cx="685800" cy="685800"/>
          </a:xfrm>
          <a:prstGeom prst="rect">
            <a:avLst/>
          </a:prstGeom>
        </p:spPr>
      </p:pic>
      <p:sp>
        <p:nvSpPr>
          <p:cNvPr id="28" name="Rectangle 27">
            <a:extLst>
              <a:ext uri="{FF2B5EF4-FFF2-40B4-BE49-F238E27FC236}">
                <a16:creationId xmlns:a16="http://schemas.microsoft.com/office/drawing/2014/main" id="{B0A5DAD9-C0C2-3EEA-7DE5-16D3204E0C34}"/>
              </a:ext>
            </a:extLst>
          </p:cNvPr>
          <p:cNvSpPr>
            <a:spLocks/>
          </p:cNvSpPr>
          <p:nvPr/>
        </p:nvSpPr>
        <p:spPr bwMode="invGray">
          <a:xfrm>
            <a:off x="6771200" y="2222810"/>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Knowledge Base</a:t>
            </a:r>
          </a:p>
        </p:txBody>
      </p:sp>
      <p:cxnSp>
        <p:nvCxnSpPr>
          <p:cNvPr id="29" name="Straight Arrow Connector 28">
            <a:extLst>
              <a:ext uri="{FF2B5EF4-FFF2-40B4-BE49-F238E27FC236}">
                <a16:creationId xmlns:a16="http://schemas.microsoft.com/office/drawing/2014/main" id="{933ECE18-A307-E987-BAB8-5649A346BA06}"/>
              </a:ext>
            </a:extLst>
          </p:cNvPr>
          <p:cNvCxnSpPr>
            <a:cxnSpLocks/>
            <a:endCxn id="28" idx="2"/>
          </p:cNvCxnSpPr>
          <p:nvPr/>
        </p:nvCxnSpPr>
        <p:spPr>
          <a:xfrm flipV="1">
            <a:off x="7255724" y="2361309"/>
            <a:ext cx="0" cy="839091"/>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B4B92756-D06E-AA8A-3623-17B0E5C58BED}"/>
              </a:ext>
            </a:extLst>
          </p:cNvPr>
          <p:cNvSpPr>
            <a:spLocks/>
          </p:cNvSpPr>
          <p:nvPr/>
        </p:nvSpPr>
        <p:spPr bwMode="invGray">
          <a:xfrm>
            <a:off x="337879" y="3734997"/>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User</a:t>
            </a:r>
          </a:p>
        </p:txBody>
      </p:sp>
      <p:pic>
        <p:nvPicPr>
          <p:cNvPr id="1028" name="Picture 4" descr="Bing logo in transparent PNG and vectorized SVG formats">
            <a:extLst>
              <a:ext uri="{FF2B5EF4-FFF2-40B4-BE49-F238E27FC236}">
                <a16:creationId xmlns:a16="http://schemas.microsoft.com/office/drawing/2014/main" id="{75814CE0-3925-F763-CAA0-0E171BEAED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6680" y="4761253"/>
            <a:ext cx="363220" cy="548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D7B0950-28A6-B852-EF4A-48E153AF0B49}"/>
              </a:ext>
            </a:extLst>
          </p:cNvPr>
          <p:cNvSpPr>
            <a:spLocks/>
          </p:cNvSpPr>
          <p:nvPr/>
        </p:nvSpPr>
        <p:spPr bwMode="invGray">
          <a:xfrm>
            <a:off x="6749824" y="5370258"/>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Bing Web</a:t>
            </a:r>
          </a:p>
        </p:txBody>
      </p:sp>
      <p:cxnSp>
        <p:nvCxnSpPr>
          <p:cNvPr id="35" name="Straight Arrow Connector 34">
            <a:extLst>
              <a:ext uri="{FF2B5EF4-FFF2-40B4-BE49-F238E27FC236}">
                <a16:creationId xmlns:a16="http://schemas.microsoft.com/office/drawing/2014/main" id="{F369855E-98BE-4FFB-BBCA-052BCA4D38FF}"/>
              </a:ext>
            </a:extLst>
          </p:cNvPr>
          <p:cNvCxnSpPr>
            <a:cxnSpLocks/>
            <a:stCxn id="1028" idx="0"/>
            <a:endCxn id="13" idx="2"/>
          </p:cNvCxnSpPr>
          <p:nvPr/>
        </p:nvCxnSpPr>
        <p:spPr>
          <a:xfrm flipV="1">
            <a:off x="7248290" y="3796099"/>
            <a:ext cx="7434" cy="965154"/>
          </a:xfrm>
          <a:prstGeom prst="straightConnector1">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030" name="Picture 6" descr="Azure Content Moderator | New Relic">
            <a:extLst>
              <a:ext uri="{FF2B5EF4-FFF2-40B4-BE49-F238E27FC236}">
                <a16:creationId xmlns:a16="http://schemas.microsoft.com/office/drawing/2014/main" id="{D6E34D19-4CD3-85A5-6EA7-995B3F2549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6278" y="3200400"/>
            <a:ext cx="457200" cy="457200"/>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8CE5285F-A10D-B050-031B-808543BF8C0E}"/>
              </a:ext>
            </a:extLst>
          </p:cNvPr>
          <p:cNvCxnSpPr>
            <a:cxnSpLocks/>
            <a:stCxn id="1030" idx="3"/>
          </p:cNvCxnSpPr>
          <p:nvPr/>
        </p:nvCxnSpPr>
        <p:spPr>
          <a:xfrm>
            <a:off x="5833478" y="3429000"/>
            <a:ext cx="1193646"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6139B6C-E2ED-53FD-13B8-BBD6C194E3FF}"/>
              </a:ext>
            </a:extLst>
          </p:cNvPr>
          <p:cNvCxnSpPr>
            <a:cxnSpLocks/>
            <a:endCxn id="44" idx="1"/>
          </p:cNvCxnSpPr>
          <p:nvPr/>
        </p:nvCxnSpPr>
        <p:spPr>
          <a:xfrm>
            <a:off x="7484324" y="3429000"/>
            <a:ext cx="1194482" cy="0"/>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4" name="Picture 6" descr="Azure Content Moderator | New Relic">
            <a:extLst>
              <a:ext uri="{FF2B5EF4-FFF2-40B4-BE49-F238E27FC236}">
                <a16:creationId xmlns:a16="http://schemas.microsoft.com/office/drawing/2014/main" id="{B8B968EE-970F-A0F5-E746-B55046C9F0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78806" y="320040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271B662D-953D-326A-C82C-693F6F1628AD}"/>
              </a:ext>
            </a:extLst>
          </p:cNvPr>
          <p:cNvSpPr>
            <a:spLocks/>
          </p:cNvSpPr>
          <p:nvPr/>
        </p:nvSpPr>
        <p:spPr bwMode="invGray">
          <a:xfrm>
            <a:off x="5120354" y="3726849"/>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Con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Safety</a:t>
            </a:r>
          </a:p>
        </p:txBody>
      </p:sp>
      <p:sp>
        <p:nvSpPr>
          <p:cNvPr id="48" name="Rectangle 47">
            <a:extLst>
              <a:ext uri="{FF2B5EF4-FFF2-40B4-BE49-F238E27FC236}">
                <a16:creationId xmlns:a16="http://schemas.microsoft.com/office/drawing/2014/main" id="{01313D3B-08E2-6DF4-51CA-CC06C7B1B87A}"/>
              </a:ext>
            </a:extLst>
          </p:cNvPr>
          <p:cNvSpPr>
            <a:spLocks/>
          </p:cNvSpPr>
          <p:nvPr/>
        </p:nvSpPr>
        <p:spPr bwMode="invGray">
          <a:xfrm>
            <a:off x="8422882" y="3726848"/>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Con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Safety</a:t>
            </a:r>
          </a:p>
        </p:txBody>
      </p:sp>
      <p:sp>
        <p:nvSpPr>
          <p:cNvPr id="51" name="Rectangle 50">
            <a:extLst>
              <a:ext uri="{FF2B5EF4-FFF2-40B4-BE49-F238E27FC236}">
                <a16:creationId xmlns:a16="http://schemas.microsoft.com/office/drawing/2014/main" id="{65B5B985-B3E6-2278-F75C-FAC91E07B09E}"/>
              </a:ext>
            </a:extLst>
          </p:cNvPr>
          <p:cNvSpPr>
            <a:spLocks/>
          </p:cNvSpPr>
          <p:nvPr/>
        </p:nvSpPr>
        <p:spPr bwMode="invGray">
          <a:xfrm>
            <a:off x="10282439" y="3687336"/>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User</a:t>
            </a:r>
          </a:p>
        </p:txBody>
      </p:sp>
      <p:cxnSp>
        <p:nvCxnSpPr>
          <p:cNvPr id="52" name="Straight Arrow Connector 51">
            <a:extLst>
              <a:ext uri="{FF2B5EF4-FFF2-40B4-BE49-F238E27FC236}">
                <a16:creationId xmlns:a16="http://schemas.microsoft.com/office/drawing/2014/main" id="{F1521E2B-B58E-76C0-215E-FB643FD568AD}"/>
              </a:ext>
            </a:extLst>
          </p:cNvPr>
          <p:cNvCxnSpPr>
            <a:cxnSpLocks/>
            <a:stCxn id="44" idx="3"/>
          </p:cNvCxnSpPr>
          <p:nvPr/>
        </p:nvCxnSpPr>
        <p:spPr>
          <a:xfrm>
            <a:off x="9136006" y="3429000"/>
            <a:ext cx="1107776" cy="7544"/>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6" name="Title 1">
            <a:extLst>
              <a:ext uri="{FF2B5EF4-FFF2-40B4-BE49-F238E27FC236}">
                <a16:creationId xmlns:a16="http://schemas.microsoft.com/office/drawing/2014/main" id="{A4CAF8FD-80C1-2989-0DDF-2D8DF605FD95}"/>
              </a:ext>
            </a:extLst>
          </p:cNvPr>
          <p:cNvSpPr>
            <a:spLocks noGrp="1"/>
          </p:cNvSpPr>
          <p:nvPr>
            <p:ph type="title"/>
          </p:nvPr>
        </p:nvSpPr>
        <p:spPr>
          <a:xfrm>
            <a:off x="838200" y="396558"/>
            <a:ext cx="10515600" cy="553998"/>
          </a:xfrm>
        </p:spPr>
        <p:txBody>
          <a:bodyPr/>
          <a:lstStyle/>
          <a:p>
            <a:pPr algn="ctr"/>
            <a:r>
              <a:rPr lang="en-US">
                <a:solidFill>
                  <a:schemeClr val="bg1"/>
                </a:solidFill>
                <a:latin typeface="Segoe UI Semibold" panose="020B0702040204020203" pitchFamily="34" charset="0"/>
                <a:cs typeface="Segoe UI Semibold" panose="020B0702040204020203" pitchFamily="34" charset="0"/>
              </a:rPr>
              <a:t>Azure AI Foundry Architecture</a:t>
            </a:r>
          </a:p>
        </p:txBody>
      </p:sp>
      <p:pic>
        <p:nvPicPr>
          <p:cNvPr id="3" name="Picture 15">
            <a:extLst>
              <a:ext uri="{FF2B5EF4-FFF2-40B4-BE49-F238E27FC236}">
                <a16:creationId xmlns:a16="http://schemas.microsoft.com/office/drawing/2014/main" id="{F7E83CC9-7375-973F-44F1-E25661B05AEE}"/>
              </a:ext>
              <a:ext uri="{C183D7F6-B498-43B3-948B-1728B52AA6E4}">
                <adec:decorative xmlns:adec="http://schemas.microsoft.com/office/drawing/2017/decorative" val="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322" b="-1322"/>
          <a:stretch/>
        </p:blipFill>
        <p:spPr bwMode="auto">
          <a:xfrm>
            <a:off x="7062716" y="3240225"/>
            <a:ext cx="400878" cy="411480"/>
          </a:xfrm>
          <a:prstGeom prst="rect">
            <a:avLst/>
          </a:prstGeom>
          <a:ln>
            <a:noFill/>
          </a:ln>
          <a:extLst>
            <a:ext uri="{53640926-AAD7-44D8-BBD7-CCE9431645EC}">
              <a14:shadowObscured xmlns:a14="http://schemas.microsoft.com/office/drawing/2010/main"/>
            </a:ext>
          </a:extLst>
        </p:spPr>
      </p:pic>
      <p:pic>
        <p:nvPicPr>
          <p:cNvPr id="4" name="Graphic 3" descr="User with solid fill">
            <a:extLst>
              <a:ext uri="{FF2B5EF4-FFF2-40B4-BE49-F238E27FC236}">
                <a16:creationId xmlns:a16="http://schemas.microsoft.com/office/drawing/2014/main" id="{D1688154-3201-E96E-05A7-AE90A58BA9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20812" y="3070785"/>
            <a:ext cx="685800" cy="685800"/>
          </a:xfrm>
          <a:prstGeom prst="rect">
            <a:avLst/>
          </a:prstGeom>
        </p:spPr>
      </p:pic>
      <p:pic>
        <p:nvPicPr>
          <p:cNvPr id="5" name="Graphic 4">
            <a:extLst>
              <a:ext uri="{FF2B5EF4-FFF2-40B4-BE49-F238E27FC236}">
                <a16:creationId xmlns:a16="http://schemas.microsoft.com/office/drawing/2014/main" id="{E78381D2-4DA1-F348-CF20-6978408A6512}"/>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584" t="6583" r="6584" b="6583"/>
          <a:stretch/>
        </p:blipFill>
        <p:spPr>
          <a:xfrm>
            <a:off x="2703552" y="5444589"/>
            <a:ext cx="549474" cy="549474"/>
          </a:xfrm>
          <a:prstGeom prst="rect">
            <a:avLst/>
          </a:prstGeom>
        </p:spPr>
      </p:pic>
      <p:pic>
        <p:nvPicPr>
          <p:cNvPr id="2050" name="Picture 2" descr="Visual Studio Code Logo Transparent">
            <a:extLst>
              <a:ext uri="{FF2B5EF4-FFF2-40B4-BE49-F238E27FC236}">
                <a16:creationId xmlns:a16="http://schemas.microsoft.com/office/drawing/2014/main" id="{1B27CCA7-1554-C798-ABFE-1B237E2CA3D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26755" y="3156777"/>
            <a:ext cx="548640" cy="5486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A294A97E-D3ED-0659-3A91-D1BF0F2526E3}"/>
              </a:ext>
            </a:extLst>
          </p:cNvPr>
          <p:cNvCxnSpPr>
            <a:cxnSpLocks/>
            <a:stCxn id="17" idx="3"/>
            <a:endCxn id="2050" idx="1"/>
          </p:cNvCxnSpPr>
          <p:nvPr/>
        </p:nvCxnSpPr>
        <p:spPr>
          <a:xfrm flipV="1">
            <a:off x="1165303" y="3431097"/>
            <a:ext cx="661452" cy="5337"/>
          </a:xfrm>
          <a:prstGeom prst="straightConnector1">
            <a:avLst/>
          </a:prstGeom>
          <a:ln w="2540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EEDA33F-3C36-C1EA-49B4-9B30BC88E963}"/>
              </a:ext>
            </a:extLst>
          </p:cNvPr>
          <p:cNvSpPr>
            <a:spLocks/>
          </p:cNvSpPr>
          <p:nvPr/>
        </p:nvSpPr>
        <p:spPr bwMode="invGray">
          <a:xfrm>
            <a:off x="1609587" y="3727667"/>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VS Code</a:t>
            </a:r>
          </a:p>
        </p:txBody>
      </p:sp>
      <p:pic>
        <p:nvPicPr>
          <p:cNvPr id="12" name="Graphic 11">
            <a:extLst>
              <a:ext uri="{FF2B5EF4-FFF2-40B4-BE49-F238E27FC236}">
                <a16:creationId xmlns:a16="http://schemas.microsoft.com/office/drawing/2014/main" id="{A59A1F5D-A79B-1AC9-11F6-C6CAB2E4362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26755" y="1736350"/>
            <a:ext cx="548640" cy="548640"/>
          </a:xfrm>
          <a:prstGeom prst="rect">
            <a:avLst/>
          </a:prstGeom>
        </p:spPr>
      </p:pic>
      <p:sp>
        <p:nvSpPr>
          <p:cNvPr id="14" name="Rectangle 13">
            <a:extLst>
              <a:ext uri="{FF2B5EF4-FFF2-40B4-BE49-F238E27FC236}">
                <a16:creationId xmlns:a16="http://schemas.microsoft.com/office/drawing/2014/main" id="{2C45420B-AC09-538D-3B3F-E92BBAA5B8D9}"/>
              </a:ext>
            </a:extLst>
          </p:cNvPr>
          <p:cNvSpPr>
            <a:spLocks/>
          </p:cNvSpPr>
          <p:nvPr/>
        </p:nvSpPr>
        <p:spPr bwMode="invGray">
          <a:xfrm>
            <a:off x="1616551" y="2298324"/>
            <a:ext cx="969048" cy="138499"/>
          </a:xfrm>
          <a:prstGeom prst="rect">
            <a:avLst/>
          </a:prstGeom>
        </p:spPr>
        <p:txBody>
          <a:bodyPr wrap="squar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Sans Display Semibold"/>
                <a:ea typeface="+mn-ea"/>
                <a:cs typeface="+mn-cs"/>
              </a:rPr>
              <a:t>SQL</a:t>
            </a:r>
            <a:r>
              <a:rPr kumimoji="0" lang="en-US" sz="900" b="0" i="0" u="none" strike="noStrike" kern="0" cap="none" spc="0" normalizeH="0" noProof="0">
                <a:ln>
                  <a:noFill/>
                </a:ln>
                <a:solidFill>
                  <a:srgbClr val="FFFFFF"/>
                </a:solidFill>
                <a:effectLst/>
                <a:uLnTx/>
                <a:uFillTx/>
                <a:latin typeface="Segoe Sans Display Semibold"/>
                <a:ea typeface="+mn-ea"/>
                <a:cs typeface="+mn-cs"/>
              </a:rPr>
              <a:t> DB</a:t>
            </a:r>
            <a:endParaRPr kumimoji="0" lang="en-US" sz="900" b="0" i="0" u="none" strike="noStrike" kern="0" cap="none" spc="0" normalizeH="0" baseline="0" noProof="0">
              <a:ln>
                <a:noFill/>
              </a:ln>
              <a:solidFill>
                <a:srgbClr val="FFFFFF"/>
              </a:solidFill>
              <a:effectLst/>
              <a:uLnTx/>
              <a:uFillTx/>
              <a:latin typeface="Segoe Sans Display Semibold"/>
              <a:ea typeface="+mn-ea"/>
              <a:cs typeface="+mn-cs"/>
            </a:endParaRPr>
          </a:p>
        </p:txBody>
      </p:sp>
      <p:cxnSp>
        <p:nvCxnSpPr>
          <p:cNvPr id="16" name="Connector: Elbow 15">
            <a:extLst>
              <a:ext uri="{FF2B5EF4-FFF2-40B4-BE49-F238E27FC236}">
                <a16:creationId xmlns:a16="http://schemas.microsoft.com/office/drawing/2014/main" id="{26778DE0-B8AC-672A-6EDF-2248FCCA1F72}"/>
              </a:ext>
            </a:extLst>
          </p:cNvPr>
          <p:cNvCxnSpPr>
            <a:cxnSpLocks/>
            <a:stCxn id="12" idx="3"/>
          </p:cNvCxnSpPr>
          <p:nvPr/>
        </p:nvCxnSpPr>
        <p:spPr>
          <a:xfrm>
            <a:off x="2375395" y="2010670"/>
            <a:ext cx="4746517" cy="1207423"/>
          </a:xfrm>
          <a:prstGeom prst="bentConnector3">
            <a:avLst>
              <a:gd name="adj1" fmla="val 82578"/>
            </a:avLst>
          </a:prstGeom>
          <a:ln w="254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268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42" presetClass="path" presetSubtype="0" accel="50000" decel="50000" fill="hold" grpId="1" nodeType="withEffect">
                                  <p:stCondLst>
                                    <p:cond delay="500"/>
                                  </p:stCondLst>
                                  <p:childTnLst>
                                    <p:animMotion origin="layout" path="M 2.91667E-6 -3.7037E-6 L 0.00039 -0.01342 " pathEditMode="relative" rAng="0" ptsTypes="AA">
                                      <p:cBhvr>
                                        <p:cTn id="9" dur="750" spd="-100000" fill="hold"/>
                                        <p:tgtEl>
                                          <p:spTgt spid="11"/>
                                        </p:tgtEl>
                                        <p:attrNameLst>
                                          <p:attrName>ppt_x</p:attrName>
                                          <p:attrName>ppt_y</p:attrName>
                                        </p:attrNameLst>
                                      </p:cBhvr>
                                      <p:rCtr x="13" y="-671"/>
                                    </p:animMotion>
                                  </p:childTnLst>
                                </p:cTn>
                              </p:par>
                              <p:par>
                                <p:cTn id="10" presetID="10" presetClass="entr" presetSubtype="0" fill="hold" grpId="0"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42" presetClass="path" presetSubtype="0" accel="50000" decel="50000" fill="hold" grpId="1" nodeType="withEffect">
                                  <p:stCondLst>
                                    <p:cond delay="500"/>
                                  </p:stCondLst>
                                  <p:childTnLst>
                                    <p:animMotion origin="layout" path="M 2.91667E-6 -3.7037E-6 L 0.00039 -0.01342 " pathEditMode="relative" rAng="0" ptsTypes="AA">
                                      <p:cBhvr>
                                        <p:cTn id="14" dur="750" spd="-100000" fill="hold"/>
                                        <p:tgtEl>
                                          <p:spTgt spid="13"/>
                                        </p:tgtEl>
                                        <p:attrNameLst>
                                          <p:attrName>ppt_x</p:attrName>
                                          <p:attrName>ppt_y</p:attrName>
                                        </p:attrNameLst>
                                      </p:cBhvr>
                                      <p:rCtr x="13" y="-671"/>
                                    </p:animMotion>
                                  </p:childTnLst>
                                </p:cTn>
                              </p:par>
                              <p:par>
                                <p:cTn id="15" presetID="10" presetClass="entr" presetSubtype="0" fill="hold" grpId="0" nodeType="withEffect">
                                  <p:stCondLst>
                                    <p:cond delay="5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750"/>
                                        <p:tgtEl>
                                          <p:spTgt spid="28"/>
                                        </p:tgtEl>
                                      </p:cBhvr>
                                    </p:animEffect>
                                  </p:childTnLst>
                                </p:cTn>
                              </p:par>
                              <p:par>
                                <p:cTn id="18" presetID="42" presetClass="path" presetSubtype="0" accel="50000" decel="50000" fill="hold" grpId="1" nodeType="withEffect">
                                  <p:stCondLst>
                                    <p:cond delay="500"/>
                                  </p:stCondLst>
                                  <p:childTnLst>
                                    <p:animMotion origin="layout" path="M 2.91667E-6 -3.7037E-6 L 0.00039 -0.01342 " pathEditMode="relative" rAng="0" ptsTypes="AA">
                                      <p:cBhvr>
                                        <p:cTn id="19" dur="750" spd="-100000" fill="hold"/>
                                        <p:tgtEl>
                                          <p:spTgt spid="28"/>
                                        </p:tgtEl>
                                        <p:attrNameLst>
                                          <p:attrName>ppt_x</p:attrName>
                                          <p:attrName>ppt_y</p:attrName>
                                        </p:attrNameLst>
                                      </p:cBhvr>
                                      <p:rCtr x="13" y="-671"/>
                                    </p:animMotion>
                                  </p:childTnLst>
                                </p:cTn>
                              </p:par>
                              <p:par>
                                <p:cTn id="20" presetID="10" presetClass="entr" presetSubtype="0" fill="hold" grpId="0" nodeType="withEffect">
                                  <p:stCondLst>
                                    <p:cond delay="5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750"/>
                                        <p:tgtEl>
                                          <p:spTgt spid="32"/>
                                        </p:tgtEl>
                                      </p:cBhvr>
                                    </p:animEffect>
                                  </p:childTnLst>
                                </p:cTn>
                              </p:par>
                              <p:par>
                                <p:cTn id="23" presetID="42" presetClass="path" presetSubtype="0" accel="50000" decel="50000" fill="hold" grpId="1" nodeType="withEffect">
                                  <p:stCondLst>
                                    <p:cond delay="500"/>
                                  </p:stCondLst>
                                  <p:childTnLst>
                                    <p:animMotion origin="layout" path="M 2.91667E-6 -3.7037E-6 L 0.00039 -0.01342 " pathEditMode="relative" rAng="0" ptsTypes="AA">
                                      <p:cBhvr>
                                        <p:cTn id="24" dur="750" spd="-100000" fill="hold"/>
                                        <p:tgtEl>
                                          <p:spTgt spid="32"/>
                                        </p:tgtEl>
                                        <p:attrNameLst>
                                          <p:attrName>ppt_x</p:attrName>
                                          <p:attrName>ppt_y</p:attrName>
                                        </p:attrNameLst>
                                      </p:cBhvr>
                                      <p:rCtr x="13" y="-671"/>
                                    </p:animMotion>
                                  </p:childTnLst>
                                </p:cTn>
                              </p:par>
                              <p:par>
                                <p:cTn id="25" presetID="10" presetClass="entr" presetSubtype="0" fill="hold" grpId="0" nodeType="withEffect">
                                  <p:stCondLst>
                                    <p:cond delay="5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accel="50000" decel="50000" fill="hold" grpId="1" nodeType="withEffect">
                                  <p:stCondLst>
                                    <p:cond delay="500"/>
                                  </p:stCondLst>
                                  <p:childTnLst>
                                    <p:animMotion origin="layout" path="M 2.91667E-6 -3.7037E-6 L 0.00039 -0.01342 " pathEditMode="relative" rAng="0" ptsTypes="AA">
                                      <p:cBhvr>
                                        <p:cTn id="29" dur="750" spd="-100000" fill="hold"/>
                                        <p:tgtEl>
                                          <p:spTgt spid="34"/>
                                        </p:tgtEl>
                                        <p:attrNameLst>
                                          <p:attrName>ppt_x</p:attrName>
                                          <p:attrName>ppt_y</p:attrName>
                                        </p:attrNameLst>
                                      </p:cBhvr>
                                      <p:rCtr x="13" y="-671"/>
                                    </p:animMotion>
                                  </p:childTnLst>
                                </p:cTn>
                              </p:par>
                              <p:par>
                                <p:cTn id="30" presetID="10" presetClass="entr" presetSubtype="0" fill="hold" grpId="0" nodeType="withEffect">
                                  <p:stCondLst>
                                    <p:cond delay="50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50"/>
                                        <p:tgtEl>
                                          <p:spTgt spid="47"/>
                                        </p:tgtEl>
                                      </p:cBhvr>
                                    </p:animEffect>
                                  </p:childTnLst>
                                </p:cTn>
                              </p:par>
                              <p:par>
                                <p:cTn id="33" presetID="42" presetClass="path" presetSubtype="0" accel="50000" decel="50000" fill="hold" grpId="1" nodeType="withEffect">
                                  <p:stCondLst>
                                    <p:cond delay="500"/>
                                  </p:stCondLst>
                                  <p:childTnLst>
                                    <p:animMotion origin="layout" path="M 2.91667E-6 -3.7037E-6 L 0.00039 -0.01342 " pathEditMode="relative" rAng="0" ptsTypes="AA">
                                      <p:cBhvr>
                                        <p:cTn id="34" dur="750" spd="-100000" fill="hold"/>
                                        <p:tgtEl>
                                          <p:spTgt spid="47"/>
                                        </p:tgtEl>
                                        <p:attrNameLst>
                                          <p:attrName>ppt_x</p:attrName>
                                          <p:attrName>ppt_y</p:attrName>
                                        </p:attrNameLst>
                                      </p:cBhvr>
                                      <p:rCtr x="13" y="-671"/>
                                    </p:animMotion>
                                  </p:childTnLst>
                                </p:cTn>
                              </p:par>
                              <p:par>
                                <p:cTn id="35" presetID="10" presetClass="entr" presetSubtype="0" fill="hold" grpId="0" nodeType="withEffect">
                                  <p:stCondLst>
                                    <p:cond delay="50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750"/>
                                        <p:tgtEl>
                                          <p:spTgt spid="48"/>
                                        </p:tgtEl>
                                      </p:cBhvr>
                                    </p:animEffect>
                                  </p:childTnLst>
                                </p:cTn>
                              </p:par>
                              <p:par>
                                <p:cTn id="38" presetID="42" presetClass="path" presetSubtype="0" accel="50000" decel="50000" fill="hold" grpId="1" nodeType="withEffect">
                                  <p:stCondLst>
                                    <p:cond delay="500"/>
                                  </p:stCondLst>
                                  <p:childTnLst>
                                    <p:animMotion origin="layout" path="M 2.91667E-6 -3.7037E-6 L 0.00039 -0.01342 " pathEditMode="relative" rAng="0" ptsTypes="AA">
                                      <p:cBhvr>
                                        <p:cTn id="39" dur="750" spd="-100000" fill="hold"/>
                                        <p:tgtEl>
                                          <p:spTgt spid="48"/>
                                        </p:tgtEl>
                                        <p:attrNameLst>
                                          <p:attrName>ppt_x</p:attrName>
                                          <p:attrName>ppt_y</p:attrName>
                                        </p:attrNameLst>
                                      </p:cBhvr>
                                      <p:rCtr x="13" y="-671"/>
                                    </p:animMotion>
                                  </p:childTnLst>
                                </p:cTn>
                              </p:par>
                              <p:par>
                                <p:cTn id="40" presetID="10" presetClass="entr" presetSubtype="0" fill="hold" grpId="0" nodeType="withEffect">
                                  <p:stCondLst>
                                    <p:cond delay="50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750"/>
                                        <p:tgtEl>
                                          <p:spTgt spid="51"/>
                                        </p:tgtEl>
                                      </p:cBhvr>
                                    </p:animEffect>
                                  </p:childTnLst>
                                </p:cTn>
                              </p:par>
                              <p:par>
                                <p:cTn id="43" presetID="42" presetClass="path" presetSubtype="0" accel="50000" decel="50000" fill="hold" grpId="1" nodeType="withEffect">
                                  <p:stCondLst>
                                    <p:cond delay="500"/>
                                  </p:stCondLst>
                                  <p:childTnLst>
                                    <p:animMotion origin="layout" path="M 2.91667E-6 -3.7037E-6 L 0.00039 -0.01342 " pathEditMode="relative" rAng="0" ptsTypes="AA">
                                      <p:cBhvr>
                                        <p:cTn id="44" dur="750" spd="-100000" fill="hold"/>
                                        <p:tgtEl>
                                          <p:spTgt spid="51"/>
                                        </p:tgtEl>
                                        <p:attrNameLst>
                                          <p:attrName>ppt_x</p:attrName>
                                          <p:attrName>ppt_y</p:attrName>
                                        </p:attrNameLst>
                                      </p:cBhvr>
                                      <p:rCtr x="13" y="-671"/>
                                    </p:animMotion>
                                  </p:childTnLst>
                                </p:cTn>
                              </p:par>
                              <p:par>
                                <p:cTn id="45" presetID="10" presetClass="entr" presetSubtype="0" fill="hold" nodeType="withEffect">
                                  <p:stCondLst>
                                    <p:cond delay="50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750"/>
                                        <p:tgtEl>
                                          <p:spTgt spid="3"/>
                                        </p:tgtEl>
                                      </p:cBhvr>
                                    </p:animEffect>
                                  </p:childTnLst>
                                </p:cTn>
                              </p:par>
                              <p:par>
                                <p:cTn id="48" presetID="42" presetClass="path" presetSubtype="0" accel="50000" decel="50000" fill="hold" nodeType="withEffect">
                                  <p:stCondLst>
                                    <p:cond delay="500"/>
                                  </p:stCondLst>
                                  <p:childTnLst>
                                    <p:animMotion origin="layout" path="M 3.33333E-6 -2.96296E-6 L 0.00039 -0.01342 " pathEditMode="relative" rAng="0" ptsTypes="AA">
                                      <p:cBhvr>
                                        <p:cTn id="49" dur="750" spd="-100000" fill="hold"/>
                                        <p:tgtEl>
                                          <p:spTgt spid="3"/>
                                        </p:tgtEl>
                                        <p:attrNameLst>
                                          <p:attrName>ppt_x</p:attrName>
                                          <p:attrName>ppt_y</p:attrName>
                                        </p:attrNameLst>
                                      </p:cBhvr>
                                      <p:rCtr x="13" y="-671"/>
                                    </p:animMotion>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par>
                                <p:cTn id="53" presetID="42" presetClass="path" presetSubtype="0" decel="100000" fill="hold" nodeType="withEffect">
                                  <p:stCondLst>
                                    <p:cond delay="0"/>
                                  </p:stCondLst>
                                  <p:childTnLst>
                                    <p:animMotion origin="layout" path="M -2.08333E-7 7.40741E-7 L -2.08333E-7 0.03542 " pathEditMode="relative" rAng="0" ptsTypes="AA">
                                      <p:cBhvr>
                                        <p:cTn id="54" dur="700" spd="-100000" fill="hold"/>
                                        <p:tgtEl>
                                          <p:spTgt spid="5"/>
                                        </p:tgtEl>
                                        <p:attrNameLst>
                                          <p:attrName>ppt_x</p:attrName>
                                          <p:attrName>ppt_y</p:attrName>
                                        </p:attrNameLst>
                                      </p:cBhvr>
                                      <p:rCtr x="0" y="1759"/>
                                    </p:animMotion>
                                  </p:childTnLst>
                                </p:cTn>
                              </p:par>
                              <p:par>
                                <p:cTn id="55" presetID="10" presetClass="entr" presetSubtype="0" fill="hold" grpId="0" nodeType="withEffect">
                                  <p:stCondLst>
                                    <p:cond delay="50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750"/>
                                        <p:tgtEl>
                                          <p:spTgt spid="9"/>
                                        </p:tgtEl>
                                      </p:cBhvr>
                                    </p:animEffect>
                                  </p:childTnLst>
                                </p:cTn>
                              </p:par>
                              <p:par>
                                <p:cTn id="58" presetID="42" presetClass="path" presetSubtype="0" accel="50000" decel="50000" fill="hold" grpId="1" nodeType="withEffect">
                                  <p:stCondLst>
                                    <p:cond delay="500"/>
                                  </p:stCondLst>
                                  <p:childTnLst>
                                    <p:animMotion origin="layout" path="M 2.91667E-6 -3.7037E-6 L 0.00039 -0.01342 " pathEditMode="relative" rAng="0" ptsTypes="AA">
                                      <p:cBhvr>
                                        <p:cTn id="59" dur="750" spd="-100000" fill="hold"/>
                                        <p:tgtEl>
                                          <p:spTgt spid="9"/>
                                        </p:tgtEl>
                                        <p:attrNameLst>
                                          <p:attrName>ppt_x</p:attrName>
                                          <p:attrName>ppt_y</p:attrName>
                                        </p:attrNameLst>
                                      </p:cBhvr>
                                      <p:rCtr x="13" y="-671"/>
                                    </p:animMotion>
                                  </p:childTnLst>
                                </p:cTn>
                              </p:par>
                              <p:par>
                                <p:cTn id="60" presetID="10" presetClass="entr" presetSubtype="0" fill="hold" grpId="0" nodeType="withEffect">
                                  <p:stCondLst>
                                    <p:cond delay="50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750"/>
                                        <p:tgtEl>
                                          <p:spTgt spid="14"/>
                                        </p:tgtEl>
                                      </p:cBhvr>
                                    </p:animEffect>
                                  </p:childTnLst>
                                </p:cTn>
                              </p:par>
                              <p:par>
                                <p:cTn id="63" presetID="42" presetClass="path" presetSubtype="0" accel="50000" decel="50000" fill="hold" grpId="1" nodeType="withEffect">
                                  <p:stCondLst>
                                    <p:cond delay="500"/>
                                  </p:stCondLst>
                                  <p:childTnLst>
                                    <p:animMotion origin="layout" path="M 2.91667E-6 -3.7037E-6 L 0.00039 -0.01342 " pathEditMode="relative" rAng="0" ptsTypes="AA">
                                      <p:cBhvr>
                                        <p:cTn id="64" dur="750" spd="-100000" fill="hold"/>
                                        <p:tgtEl>
                                          <p:spTgt spid="14"/>
                                        </p:tgtEl>
                                        <p:attrNameLst>
                                          <p:attrName>ppt_x</p:attrName>
                                          <p:attrName>ppt_y</p:attrName>
                                        </p:attrNameLst>
                                      </p:cBhvr>
                                      <p:rCtr x="13" y="-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3" grpId="0"/>
      <p:bldP spid="13" grpId="1"/>
      <p:bldP spid="28" grpId="0"/>
      <p:bldP spid="28" grpId="1"/>
      <p:bldP spid="32" grpId="0"/>
      <p:bldP spid="32" grpId="1"/>
      <p:bldP spid="34" grpId="0"/>
      <p:bldP spid="34" grpId="1"/>
      <p:bldP spid="47" grpId="0"/>
      <p:bldP spid="47" grpId="1"/>
      <p:bldP spid="48" grpId="0"/>
      <p:bldP spid="48" grpId="1"/>
      <p:bldP spid="51" grpId="0"/>
      <p:bldP spid="51" grpId="1"/>
      <p:bldP spid="9" grpId="0"/>
      <p:bldP spid="9" grpId="1"/>
      <p:bldP spid="14" grpId="0"/>
      <p:bldP spid="14" grpId="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2970AF00-6CFD-CCEB-DFE7-8989F60A15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8043-84C5-319A-F288-366E349129FF}"/>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E00FDA54-01F4-DE13-BBD4-BB04215FC1D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BF668563-A874-B1B2-06C2-688838625C32}"/>
              </a:ext>
            </a:extLst>
          </p:cNvPr>
          <p:cNvGraphicFramePr>
            <a:graphicFrameLocks noGrp="1"/>
          </p:cNvGraphicFramePr>
          <p:nvPr>
            <p:extLst>
              <p:ext uri="{D42A27DB-BD31-4B8C-83A1-F6EECF244321}">
                <p14:modId xmlns:p14="http://schemas.microsoft.com/office/powerpoint/2010/main" val="317506204"/>
              </p:ext>
            </p:extLst>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Welcome &amp; Introduction</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00 – 11:10 A.M. (EST)</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1734049"/>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5466505"/>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ACF39405-2E51-084B-70BA-3AA22E7EB789}"/>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163517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146BC051-365F-B7AA-53CC-772632483BB9}"/>
              </a:ext>
            </a:extLst>
          </p:cNvPr>
          <p:cNvSpPr txBox="1"/>
          <p:nvPr/>
        </p:nvSpPr>
        <p:spPr>
          <a:xfrm>
            <a:off x="276150" y="189666"/>
            <a:ext cx="6097218"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a:rPr>
              <a:t>Microhack Goals</a:t>
            </a:r>
            <a:endParaRPr kumimoji="0" lang="en-US" sz="4000" b="0" i="1" u="none" strike="noStrike" kern="1200" cap="none" spc="-50" normalizeH="0" baseline="0" noProof="0">
              <a:ln w="3175">
                <a:noFill/>
              </a:ln>
              <a:solidFill>
                <a:srgbClr val="FFFFFF"/>
              </a:solidFill>
              <a:effectLst/>
              <a:uLnTx/>
              <a:uFillTx/>
              <a:latin typeface="Segoe UI Semibold"/>
              <a:cs typeface="Segoe UI"/>
            </a:endParaRP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131F9BE6-DE79-FC86-2F9F-6EEC0E72133E}"/>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a:solidFill>
                  <a:schemeClr val="bg1"/>
                </a:solidFill>
              </a:rPr>
              <a:t>Join our Microhack Community |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a:solidFill>
                <a:schemeClr val="bg1"/>
              </a:solidFill>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C6C5594-F75A-E676-4839-94C71B74D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FD1D9-75F7-33CE-E21E-3C055D36894C}"/>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64FC2E4-7D69-D5C1-98D0-82A55A5CF3A3}"/>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30453D34-C4E4-54D2-7889-D529633BFBA5}"/>
              </a:ext>
            </a:extLst>
          </p:cNvPr>
          <p:cNvGraphicFramePr>
            <a:graphicFrameLocks noGrp="1"/>
          </p:cNvGraphicFramePr>
          <p:nvPr/>
        </p:nvGraphicFramePr>
        <p:xfrm>
          <a:off x="1517056" y="1963657"/>
          <a:ext cx="9157888" cy="3688296"/>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Setting the Stage</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40 min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10 – 11:50 A.M. (EST)</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Lun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1:50 – 12: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0973840"/>
                  </a:ext>
                </a:extLst>
              </a:tr>
              <a:tr h="461037">
                <a:tc>
                  <a:txBody>
                    <a:bodyPr/>
                    <a:lstStyle/>
                    <a:p>
                      <a:pPr algn="ct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20 – 1:2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4304845"/>
                  </a:ext>
                </a:extLst>
              </a:tr>
              <a:tr h="461037">
                <a:tc>
                  <a:txBody>
                    <a:bodyPr/>
                    <a:lstStyle/>
                    <a:p>
                      <a:pPr algn="ctr"/>
                      <a:r>
                        <a:rPr lang="en-US" sz="1800">
                          <a:solidFill>
                            <a:schemeClr val="bg1"/>
                          </a:solidFill>
                          <a:latin typeface="+mn-lt"/>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20 – 1: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6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30 – 2: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8100997"/>
                  </a:ext>
                </a:extLst>
              </a:tr>
              <a:tr h="461037">
                <a:tc>
                  <a:txBody>
                    <a:bodyPr/>
                    <a:lstStyle/>
                    <a:p>
                      <a:pPr algn="ctr"/>
                      <a:r>
                        <a:rPr lang="en-US" sz="180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2:30 – 3:1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rPr>
                        <a:t>3:15 – 3:3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bl>
          </a:graphicData>
        </a:graphic>
      </p:graphicFrame>
      <p:pic>
        <p:nvPicPr>
          <p:cNvPr id="6" name="Picture 5">
            <a:extLst>
              <a:ext uri="{FF2B5EF4-FFF2-40B4-BE49-F238E27FC236}">
                <a16:creationId xmlns:a16="http://schemas.microsoft.com/office/drawing/2014/main" id="{77D33D00-ACCC-805D-51A5-A9F903A23B0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568363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gentic AI</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6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10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45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venir Next LT Pro "/>
                <a:ea typeface="+mn-ea"/>
                <a:cs typeface="+mn-cs"/>
              </a:rPr>
              <a:t>You are </a:t>
            </a:r>
            <a:r>
              <a:rPr kumimoji="0" lang="en-US" sz="12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you will be working wit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6561AF4F-ABE5-F53C-8CA6-1DCB9D2F9F00}"/>
              </a:ext>
            </a:extLst>
          </p:cNvPr>
          <p:cNvSpPr txBox="1"/>
          <p:nvPr/>
        </p:nvSpPr>
        <p:spPr>
          <a:xfrm>
            <a:off x="1051250" y="1855851"/>
            <a:ext cx="4379166" cy="4001095"/>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Join your assigned team of 3-7 participa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Join your Teams Break-Out chann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aches available to hel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ain channel will display schedule and remain open for coach reques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68869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you will be working on:</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04A54B2A-1404-F0BF-3ECB-3591D7DE84E6}"/>
              </a:ext>
            </a:extLst>
          </p:cNvPr>
          <p:cNvSpPr txBox="1"/>
          <p:nvPr/>
        </p:nvSpPr>
        <p:spPr>
          <a:xfrm>
            <a:off x="6195145" y="1199870"/>
            <a:ext cx="5088682" cy="4616648"/>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icrosoft Teams – use to collaborate with your Microhack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pilot Studio – Microhack development environment #1</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zure – Microhack development environment #2</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Microhack Challenges packet – complete challenges to complete Microhack successfull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pilot Studio (GUI)</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zure AI Foundry (GUI)</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Azure AI Foundry (Code-First)</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5.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1_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lumMod val="90000"/>
            <a:lumOff val="10000"/>
          </a:schemeClr>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alpha val="30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3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themeOverride>
</file>

<file path=ppt/theme/themeOverride2.xml><?xml version="1.0" encoding="utf-8"?>
<a:themeOverride xmlns:a="http://schemas.openxmlformats.org/drawingml/2006/main">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themeOverride>
</file>

<file path=ppt/theme/themeOverride3.xml><?xml version="1.0" encoding="utf-8"?>
<a:themeOverride xmlns:a="http://schemas.openxmlformats.org/drawingml/2006/main">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7186308C97834AB56B094FEF8818F0" ma:contentTypeVersion="14" ma:contentTypeDescription="Create a new document." ma:contentTypeScope="" ma:versionID="196ec9c98a0496eb812e94dae708725b">
  <xsd:schema xmlns:xsd="http://www.w3.org/2001/XMLSchema" xmlns:xs="http://www.w3.org/2001/XMLSchema" xmlns:p="http://schemas.microsoft.com/office/2006/metadata/properties" xmlns:ns1="http://schemas.microsoft.com/sharepoint/v3" xmlns:ns2="054d9244-6265-4252-8c86-afb857f94a71" targetNamespace="http://schemas.microsoft.com/office/2006/metadata/properties" ma:root="true" ma:fieldsID="c61fe012b85f58687654c448fdb79496" ns1:_="" ns2:_="">
    <xsd:import namespace="http://schemas.microsoft.com/sharepoint/v3"/>
    <xsd:import namespace="054d9244-6265-4252-8c86-afb857f94a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4d9244-6265-4252-8c86-afb857f94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54d9244-6265-4252-8c86-afb857f94a7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5ADED4B-BC24-4E5F-A001-9F249C0CF662}">
  <ds:schemaRefs>
    <ds:schemaRef ds:uri="054d9244-6265-4252-8c86-afb857f94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C86C901-CF8E-4367-B300-0DD214DC4C63}">
  <ds:schemaRefs>
    <ds:schemaRef ds:uri="http://schemas.microsoft.com/sharepoint/v3/contenttype/forms"/>
  </ds:schemaRefs>
</ds:datastoreItem>
</file>

<file path=customXml/itemProps3.xml><?xml version="1.0" encoding="utf-8"?>
<ds:datastoreItem xmlns:ds="http://schemas.openxmlformats.org/officeDocument/2006/customXml" ds:itemID="{DB5D5546-3250-4738-B4D8-024DBE318E94}">
  <ds:schemaRefs>
    <ds:schemaRef ds:uri="054d9244-6265-4252-8c86-afb857f94a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578</Words>
  <Application>Microsoft Office PowerPoint</Application>
  <PresentationFormat>Widescreen</PresentationFormat>
  <Paragraphs>640</Paragraphs>
  <Slides>35</Slides>
  <Notes>25</Notes>
  <HiddenSlides>1</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35</vt:i4>
      </vt:variant>
    </vt:vector>
  </HeadingPairs>
  <TitlesOfParts>
    <vt:vector size="62" baseType="lpstr">
      <vt:lpstr>-apple-system</vt:lpstr>
      <vt:lpstr>Aptos</vt:lpstr>
      <vt:lpstr>Aptos Display</vt:lpstr>
      <vt:lpstr>Arial</vt:lpstr>
      <vt:lpstr>Avenir Next LT Pro </vt:lpstr>
      <vt:lpstr>Avenir Next LT Pro Demi</vt:lpstr>
      <vt:lpstr>Calibri</vt:lpstr>
      <vt:lpstr>Consolas</vt:lpstr>
      <vt:lpstr>Segoe Sans Display</vt:lpstr>
      <vt:lpstr>Segoe Sans Display Semibold</vt:lpstr>
      <vt:lpstr>Segoe Sans Text</vt:lpstr>
      <vt:lpstr>Segoe Sans Text Semibold</vt:lpstr>
      <vt:lpstr>Segoe Sans Text Semilight</vt:lpstr>
      <vt:lpstr>Segoe UI</vt:lpstr>
      <vt:lpstr>Segoe UI Light</vt:lpstr>
      <vt:lpstr>Segoe UI Semibold</vt:lpstr>
      <vt:lpstr>Segoe UI Semibold</vt:lpstr>
      <vt:lpstr>Segoe UI Variable Display Semibold</vt:lpstr>
      <vt:lpstr>Wingdings</vt:lpstr>
      <vt:lpstr>1_Office Theme</vt:lpstr>
      <vt:lpstr>1_Industry Leader Summit White template</vt:lpstr>
      <vt:lpstr>Custom</vt:lpstr>
      <vt:lpstr>Americas 16:9 Template Dark</vt:lpstr>
      <vt:lpstr>2_Azure 2023 Template</vt:lpstr>
      <vt:lpstr>1_MSFT Cloud_Industry Slide Template-16x9</vt:lpstr>
      <vt:lpstr>3_Azure 2023 Template</vt:lpstr>
      <vt:lpstr>think-cell Slide</vt:lpstr>
      <vt:lpstr>Microsoft Microhack</vt:lpstr>
      <vt:lpstr>Agenda</vt:lpstr>
      <vt:lpstr>Welcome &amp; Introductions</vt:lpstr>
      <vt:lpstr>Agenda</vt:lpstr>
      <vt:lpstr>PowerPoint Presentation</vt:lpstr>
      <vt:lpstr>Setting the Stage</vt:lpstr>
      <vt:lpstr>Agenda</vt:lpstr>
      <vt:lpstr>Microsoft Microhack</vt:lpstr>
      <vt:lpstr>Microsoft Microhack</vt:lpstr>
      <vt:lpstr>Rules of Engagement</vt:lpstr>
      <vt:lpstr>Customer Scenario | Contoso</vt:lpstr>
      <vt:lpstr>What is Agentic AI?</vt:lpstr>
      <vt:lpstr>PowerPoint Presentation</vt:lpstr>
      <vt:lpstr>Starting point</vt:lpstr>
      <vt:lpstr>What is an Agent?</vt:lpstr>
      <vt:lpstr>Generative AI makes apps truly intelligent</vt:lpstr>
      <vt:lpstr>AI Alignment Guide</vt:lpstr>
      <vt:lpstr>Agents + Copilot Studio</vt:lpstr>
      <vt:lpstr>PowerPoint Presentation</vt:lpstr>
      <vt:lpstr>Copilot Studio + AI Foundry</vt:lpstr>
      <vt:lpstr>Executing hack - options</vt:lpstr>
      <vt:lpstr>PowerPoint Presentation</vt:lpstr>
      <vt:lpstr>Hands-On Hack</vt:lpstr>
      <vt:lpstr>Agenda</vt:lpstr>
      <vt:lpstr>Break</vt:lpstr>
      <vt:lpstr>Agenda</vt:lpstr>
      <vt:lpstr>Show &amp; Tell</vt:lpstr>
      <vt:lpstr>Agenda</vt:lpstr>
      <vt:lpstr>PowerPoint Presentation</vt:lpstr>
      <vt:lpstr>Close</vt:lpstr>
      <vt:lpstr>Agenda</vt:lpstr>
      <vt:lpstr>Thank YOU!</vt:lpstr>
      <vt:lpstr>Copilot Studio Architecture</vt:lpstr>
      <vt:lpstr>Azure AI Foundry Architecture</vt:lpstr>
      <vt:lpstr>Azure AI Foundry Archite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lastModifiedBy>James Tooles</cp:lastModifiedBy>
  <cp:revision>2</cp:revision>
  <dcterms:created xsi:type="dcterms:W3CDTF">2024-10-09T17:28:49Z</dcterms:created>
  <dcterms:modified xsi:type="dcterms:W3CDTF">2025-04-10T16: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186308C97834AB56B094FEF8818F0</vt:lpwstr>
  </property>
  <property fmtid="{D5CDD505-2E9C-101B-9397-08002B2CF9AE}" pid="3" name="MediaServiceImageTags">
    <vt:lpwstr/>
  </property>
</Properties>
</file>